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43"/>
  </p:notesMasterIdLst>
  <p:handoutMasterIdLst>
    <p:handoutMasterId r:id="rId44"/>
  </p:handoutMasterIdLst>
  <p:sldIdLst>
    <p:sldId id="10222" r:id="rId5"/>
    <p:sldId id="1735" r:id="rId6"/>
    <p:sldId id="10250" r:id="rId7"/>
    <p:sldId id="1786" r:id="rId8"/>
    <p:sldId id="10251" r:id="rId9"/>
    <p:sldId id="10243" r:id="rId10"/>
    <p:sldId id="10244" r:id="rId11"/>
    <p:sldId id="10252" r:id="rId12"/>
    <p:sldId id="10238" r:id="rId13"/>
    <p:sldId id="10253" r:id="rId14"/>
    <p:sldId id="10224" r:id="rId15"/>
    <p:sldId id="10246" r:id="rId16"/>
    <p:sldId id="10247" r:id="rId17"/>
    <p:sldId id="10265" r:id="rId18"/>
    <p:sldId id="10274" r:id="rId19"/>
    <p:sldId id="10266" r:id="rId20"/>
    <p:sldId id="10249" r:id="rId21"/>
    <p:sldId id="10267" r:id="rId22"/>
    <p:sldId id="10276" r:id="rId23"/>
    <p:sldId id="10268" r:id="rId24"/>
    <p:sldId id="10277" r:id="rId25"/>
    <p:sldId id="10269" r:id="rId26"/>
    <p:sldId id="10278" r:id="rId27"/>
    <p:sldId id="10270" r:id="rId28"/>
    <p:sldId id="10279" r:id="rId29"/>
    <p:sldId id="10271" r:id="rId30"/>
    <p:sldId id="10280" r:id="rId31"/>
    <p:sldId id="10272" r:id="rId32"/>
    <p:sldId id="10281" r:id="rId33"/>
    <p:sldId id="10273" r:id="rId34"/>
    <p:sldId id="10282" r:id="rId35"/>
    <p:sldId id="10254" r:id="rId36"/>
    <p:sldId id="10239" r:id="rId37"/>
    <p:sldId id="10248" r:id="rId38"/>
    <p:sldId id="10255" r:id="rId39"/>
    <p:sldId id="1796" r:id="rId40"/>
    <p:sldId id="1798" r:id="rId41"/>
    <p:sldId id="10283" r:id="rId42"/>
  </p:sldIdLst>
  <p:sldSz cx="12192000" cy="6858000"/>
  <p:notesSz cx="6858000" cy="9144000"/>
  <p:embeddedFontLs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Segoe UI" panose="020B0502040204020203" pitchFamily="34" charset="0"/>
      <p:regular r:id="rId49"/>
      <p:bold r:id="rId50"/>
      <p:italic r:id="rId51"/>
      <p:boldItalic r:id="rId52"/>
    </p:embeddedFont>
    <p:embeddedFont>
      <p:font typeface="Segoe UI Semibold" panose="020B0702040204020203" pitchFamily="34" charset="0"/>
      <p:bold r:id="rId53"/>
      <p:boldItalic r:id="rId54"/>
    </p:embeddedFont>
  </p:embeddedFontLst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C20E26B-4061-AA7B-217A-F27835ACEFCC}" name="Toby James" initials="TJ" userId="S::tojame@microsoft.com::4852c070-2e6b-4fbf-b108-1679f58fc2a2" providerId="AD"/>
  <p188:author id="{2C2B36A9-2036-82E3-70AF-FA0B03EF4E51}" name="Ajit Kotwal" initials="AK" userId="S::ajkotwal@microsoft.com::781b8ab5-6f9a-4511-aed5-b50cf9e67252" providerId="AD"/>
  <p188:author id="{D5C77FBB-3620-A16A-EEA3-BFC0661EA481}" name="Kuntal Ghoshal" initials="KG" userId="S::kughosha@microsoft.com::9365114f-3662-492a-8f44-5af3c15a219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Neiley" initials="JN" lastIdx="7" clrIdx="0">
    <p:extLst>
      <p:ext uri="{19B8F6BF-5375-455C-9EA6-DF929625EA0E}">
        <p15:presenceInfo xmlns:p15="http://schemas.microsoft.com/office/powerpoint/2012/main" userId="S::juneiley@microsoft.com::af98ba14-8982-42eb-8fbe-118df68fa5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7CF"/>
    <a:srgbClr val="008272"/>
    <a:srgbClr val="3D3D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EE4DDD-33DF-4ECC-B9D1-B5112552FCBE}" v="276" dt="2021-05-07T15:54:16.3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94" autoAdjust="0"/>
    <p:restoredTop sz="86397" autoAdjust="0"/>
  </p:normalViewPr>
  <p:slideViewPr>
    <p:cSldViewPr snapToGrid="0">
      <p:cViewPr varScale="1">
        <p:scale>
          <a:sx n="92" d="100"/>
          <a:sy n="92" d="100"/>
        </p:scale>
        <p:origin x="17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548" y="105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tags" Target="tags/tag1.xml"/><Relationship Id="rId63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microsoft.com/office/2016/11/relationships/changesInfo" Target="changesInfos/changesInfo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4.fntdata"/><Relationship Id="rId56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font" Target="fonts/font7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2.fntdata"/><Relationship Id="rId59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font" Target="fonts/font10.fntdata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5.fntdata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handoutMaster" Target="handoutMasters/handoutMaster1.xml"/><Relationship Id="rId52" Type="http://schemas.openxmlformats.org/officeDocument/2006/relationships/font" Target="fonts/font8.fntdata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y James" userId="S::tojame@microsoft.com::4852c070-2e6b-4fbf-b108-1679f58fc2a2" providerId="AD" clId="Web-{C822075B-B9AC-C9C8-D4D9-8E0B67FD01AC}"/>
    <pc:docChg chg="">
      <pc:chgData name="Toby James" userId="S::tojame@microsoft.com::4852c070-2e6b-4fbf-b108-1679f58fc2a2" providerId="AD" clId="Web-{C822075B-B9AC-C9C8-D4D9-8E0B67FD01AC}" dt="2021-02-09T22:15:10.046" v="0"/>
      <pc:docMkLst>
        <pc:docMk/>
      </pc:docMkLst>
      <pc:sldChg chg="modCm">
        <pc:chgData name="Toby James" userId="S::tojame@microsoft.com::4852c070-2e6b-4fbf-b108-1679f58fc2a2" providerId="AD" clId="Web-{C822075B-B9AC-C9C8-D4D9-8E0B67FD01AC}" dt="2021-02-09T22:15:10.046" v="0"/>
        <pc:sldMkLst>
          <pc:docMk/>
          <pc:sldMk cId="3979634199" sldId="10260"/>
        </pc:sldMkLst>
      </pc:sldChg>
    </pc:docChg>
  </pc:docChgLst>
  <pc:docChgLst>
    <pc:chgData name="Ajit Kotwal" userId="S::ajkotwal@microsoft.com::781b8ab5-6f9a-4511-aed5-b50cf9e67252" providerId="AD" clId="Web-{17A5454C-BD8B-45DD-991A-3250E5DFC487}"/>
    <pc:docChg chg="modSld">
      <pc:chgData name="Ajit Kotwal" userId="S::ajkotwal@microsoft.com::781b8ab5-6f9a-4511-aed5-b50cf9e67252" providerId="AD" clId="Web-{17A5454C-BD8B-45DD-991A-3250E5DFC487}" dt="2021-02-09T22:04:38.337" v="293"/>
      <pc:docMkLst>
        <pc:docMk/>
      </pc:docMkLst>
      <pc:sldChg chg="addSp delSp modSp mod modCm chgLayout">
        <pc:chgData name="Ajit Kotwal" userId="S::ajkotwal@microsoft.com::781b8ab5-6f9a-4511-aed5-b50cf9e67252" providerId="AD" clId="Web-{17A5454C-BD8B-45DD-991A-3250E5DFC487}" dt="2021-02-09T22:04:38.337" v="293"/>
        <pc:sldMkLst>
          <pc:docMk/>
          <pc:sldMk cId="3549929259" sldId="10256"/>
        </pc:sldMkLst>
        <pc:spChg chg="add del mod ord">
          <ac:chgData name="Ajit Kotwal" userId="S::ajkotwal@microsoft.com::781b8ab5-6f9a-4511-aed5-b50cf9e67252" providerId="AD" clId="Web-{17A5454C-BD8B-45DD-991A-3250E5DFC487}" dt="2021-02-09T21:56:29.122" v="205"/>
          <ac:spMkLst>
            <pc:docMk/>
            <pc:sldMk cId="3549929259" sldId="10256"/>
            <ac:spMk id="3" creationId="{0AF4C424-64BC-410F-ADDD-CCF9E369832B}"/>
          </ac:spMkLst>
        </pc:spChg>
        <pc:spChg chg="add del mod ord">
          <ac:chgData name="Ajit Kotwal" userId="S::ajkotwal@microsoft.com::781b8ab5-6f9a-4511-aed5-b50cf9e67252" providerId="AD" clId="Web-{17A5454C-BD8B-45DD-991A-3250E5DFC487}" dt="2021-02-09T21:56:29.122" v="205"/>
          <ac:spMkLst>
            <pc:docMk/>
            <pc:sldMk cId="3549929259" sldId="10256"/>
            <ac:spMk id="4" creationId="{8C005B0D-4A43-4E29-B764-1EA12E547841}"/>
          </ac:spMkLst>
        </pc:spChg>
        <pc:spChg chg="mod ord">
          <ac:chgData name="Ajit Kotwal" userId="S::ajkotwal@microsoft.com::781b8ab5-6f9a-4511-aed5-b50cf9e67252" providerId="AD" clId="Web-{17A5454C-BD8B-45DD-991A-3250E5DFC487}" dt="2021-02-09T22:01:30.785" v="292" actId="20577"/>
          <ac:spMkLst>
            <pc:docMk/>
            <pc:sldMk cId="3549929259" sldId="10256"/>
            <ac:spMk id="8" creationId="{B641FCBC-9EF2-4AD6-AD44-163FDED01C39}"/>
          </ac:spMkLst>
        </pc:spChg>
        <pc:graphicFrameChg chg="add del modGraphic">
          <ac:chgData name="Ajit Kotwal" userId="S::ajkotwal@microsoft.com::781b8ab5-6f9a-4511-aed5-b50cf9e67252" providerId="AD" clId="Web-{17A5454C-BD8B-45DD-991A-3250E5DFC487}" dt="2021-02-09T21:56:38.919" v="207"/>
          <ac:graphicFrameMkLst>
            <pc:docMk/>
            <pc:sldMk cId="3549929259" sldId="10256"/>
            <ac:graphicFrameMk id="2" creationId="{4C1674E0-4254-4B52-BEA7-7456A6A6C76A}"/>
          </ac:graphicFrameMkLst>
        </pc:graphicFrameChg>
      </pc:sldChg>
    </pc:docChg>
  </pc:docChgLst>
  <pc:docChgLst>
    <pc:chgData name="Ajit Kotwal" userId="S::ajkotwal@microsoft.com::781b8ab5-6f9a-4511-aed5-b50cf9e67252" providerId="AD" clId="Web-{D7E4703A-E603-48ED-894F-F3A76FD9CBBD}"/>
    <pc:docChg chg="">
      <pc:chgData name="Ajit Kotwal" userId="S::ajkotwal@microsoft.com::781b8ab5-6f9a-4511-aed5-b50cf9e67252" providerId="AD" clId="Web-{D7E4703A-E603-48ED-894F-F3A76FD9CBBD}" dt="2021-02-11T20:45:07.881" v="0"/>
      <pc:docMkLst>
        <pc:docMk/>
      </pc:docMkLst>
      <pc:sldChg chg="modCm">
        <pc:chgData name="Ajit Kotwal" userId="S::ajkotwal@microsoft.com::781b8ab5-6f9a-4511-aed5-b50cf9e67252" providerId="AD" clId="Web-{D7E4703A-E603-48ED-894F-F3A76FD9CBBD}" dt="2021-02-11T20:45:07.881" v="0"/>
        <pc:sldMkLst>
          <pc:docMk/>
          <pc:sldMk cId="706792741" sldId="10259"/>
        </pc:sldMkLst>
      </pc:sldChg>
    </pc:docChg>
  </pc:docChgLst>
  <pc:docChgLst>
    <pc:chgData name="Ajit Kotwal" userId="S::ajkotwal@microsoft.com::781b8ab5-6f9a-4511-aed5-b50cf9e67252" providerId="AD" clId="Web-{84406352-D95D-49D2-A12E-A5DF2E5265F3}"/>
    <pc:docChg chg="modSld">
      <pc:chgData name="Ajit Kotwal" userId="S::ajkotwal@microsoft.com::781b8ab5-6f9a-4511-aed5-b50cf9e67252" providerId="AD" clId="Web-{84406352-D95D-49D2-A12E-A5DF2E5265F3}" dt="2021-02-07T21:29:54.280" v="3"/>
      <pc:docMkLst>
        <pc:docMk/>
      </pc:docMkLst>
      <pc:sldChg chg="modSp">
        <pc:chgData name="Ajit Kotwal" userId="S::ajkotwal@microsoft.com::781b8ab5-6f9a-4511-aed5-b50cf9e67252" providerId="AD" clId="Web-{84406352-D95D-49D2-A12E-A5DF2E5265F3}" dt="2021-02-07T21:29:16.074" v="1"/>
        <pc:sldMkLst>
          <pc:docMk/>
          <pc:sldMk cId="2495781146" sldId="10244"/>
        </pc:sldMkLst>
        <pc:spChg chg="mod">
          <ac:chgData name="Ajit Kotwal" userId="S::ajkotwal@microsoft.com::781b8ab5-6f9a-4511-aed5-b50cf9e67252" providerId="AD" clId="Web-{84406352-D95D-49D2-A12E-A5DF2E5265F3}" dt="2021-02-07T21:29:16.074" v="1"/>
          <ac:spMkLst>
            <pc:docMk/>
            <pc:sldMk cId="2495781146" sldId="10244"/>
            <ac:spMk id="9" creationId="{5F10B7DA-EBAD-49D8-8636-A3336D68F659}"/>
          </ac:spMkLst>
        </pc:spChg>
      </pc:sldChg>
      <pc:sldChg chg="modSp">
        <pc:chgData name="Ajit Kotwal" userId="S::ajkotwal@microsoft.com::781b8ab5-6f9a-4511-aed5-b50cf9e67252" providerId="AD" clId="Web-{84406352-D95D-49D2-A12E-A5DF2E5265F3}" dt="2021-02-07T21:29:54.280" v="3"/>
        <pc:sldMkLst>
          <pc:docMk/>
          <pc:sldMk cId="1090235674" sldId="10247"/>
        </pc:sldMkLst>
        <pc:spChg chg="mod">
          <ac:chgData name="Ajit Kotwal" userId="S::ajkotwal@microsoft.com::781b8ab5-6f9a-4511-aed5-b50cf9e67252" providerId="AD" clId="Web-{84406352-D95D-49D2-A12E-A5DF2E5265F3}" dt="2021-02-07T21:29:54.280" v="3"/>
          <ac:spMkLst>
            <pc:docMk/>
            <pc:sldMk cId="1090235674" sldId="10247"/>
            <ac:spMk id="9" creationId="{5F10B7DA-EBAD-49D8-8636-A3336D68F659}"/>
          </ac:spMkLst>
        </pc:spChg>
      </pc:sldChg>
    </pc:docChg>
  </pc:docChgLst>
  <pc:docChgLst>
    <pc:chgData name="Toby James" userId="4852c070-2e6b-4fbf-b108-1679f58fc2a2" providerId="ADAL" clId="{811CBC0F-460C-4ED0-9AF6-D1F065CF5CCE}"/>
    <pc:docChg chg="undo custSel addSld delSld modSld modSection">
      <pc:chgData name="Toby James" userId="4852c070-2e6b-4fbf-b108-1679f58fc2a2" providerId="ADAL" clId="{811CBC0F-460C-4ED0-9AF6-D1F065CF5CCE}" dt="2021-02-15T00:51:31.879" v="3528"/>
      <pc:docMkLst>
        <pc:docMk/>
      </pc:docMkLst>
      <pc:sldChg chg="modCm">
        <pc:chgData name="Toby James" userId="4852c070-2e6b-4fbf-b108-1679f58fc2a2" providerId="ADAL" clId="{811CBC0F-460C-4ED0-9AF6-D1F065CF5CCE}" dt="2021-02-15T00:51:31.879" v="3528"/>
        <pc:sldMkLst>
          <pc:docMk/>
          <pc:sldMk cId="1094870920" sldId="1735"/>
        </pc:sldMkLst>
      </pc:sldChg>
      <pc:sldChg chg="addCm">
        <pc:chgData name="Toby James" userId="4852c070-2e6b-4fbf-b108-1679f58fc2a2" providerId="ADAL" clId="{811CBC0F-460C-4ED0-9AF6-D1F065CF5CCE}" dt="2021-02-08T01:47:13.681" v="3"/>
        <pc:sldMkLst>
          <pc:docMk/>
          <pc:sldMk cId="2694433332" sldId="10224"/>
        </pc:sldMkLst>
      </pc:sldChg>
      <pc:sldChg chg="addCm">
        <pc:chgData name="Toby James" userId="4852c070-2e6b-4fbf-b108-1679f58fc2a2" providerId="ADAL" clId="{811CBC0F-460C-4ED0-9AF6-D1F065CF5CCE}" dt="2021-02-15T00:49:24.657" v="3526"/>
        <pc:sldMkLst>
          <pc:docMk/>
          <pc:sldMk cId="3869426496" sldId="10238"/>
        </pc:sldMkLst>
      </pc:sldChg>
      <pc:sldChg chg="addCm modCm">
        <pc:chgData name="Toby James" userId="4852c070-2e6b-4fbf-b108-1679f58fc2a2" providerId="ADAL" clId="{811CBC0F-460C-4ED0-9AF6-D1F065CF5CCE}" dt="2021-02-15T00:41:14.445" v="3524"/>
        <pc:sldMkLst>
          <pc:docMk/>
          <pc:sldMk cId="1247591511" sldId="10243"/>
        </pc:sldMkLst>
      </pc:sldChg>
      <pc:sldChg chg="modCm">
        <pc:chgData name="Toby James" userId="4852c070-2e6b-4fbf-b108-1679f58fc2a2" providerId="ADAL" clId="{811CBC0F-460C-4ED0-9AF6-D1F065CF5CCE}" dt="2021-02-15T00:49:51.534" v="3527"/>
        <pc:sldMkLst>
          <pc:docMk/>
          <pc:sldMk cId="2495781146" sldId="10244"/>
        </pc:sldMkLst>
      </pc:sldChg>
      <pc:sldChg chg="addCm">
        <pc:chgData name="Toby James" userId="4852c070-2e6b-4fbf-b108-1679f58fc2a2" providerId="ADAL" clId="{811CBC0F-460C-4ED0-9AF6-D1F065CF5CCE}" dt="2021-02-08T01:51:15.613" v="4"/>
        <pc:sldMkLst>
          <pc:docMk/>
          <pc:sldMk cId="1090235674" sldId="10247"/>
        </pc:sldMkLst>
      </pc:sldChg>
      <pc:sldChg chg="addSp delSp modSp new del mod chgLayout">
        <pc:chgData name="Toby James" userId="4852c070-2e6b-4fbf-b108-1679f58fc2a2" providerId="ADAL" clId="{811CBC0F-460C-4ED0-9AF6-D1F065CF5CCE}" dt="2021-02-08T02:21:32.660" v="361" actId="47"/>
        <pc:sldMkLst>
          <pc:docMk/>
          <pc:sldMk cId="715880757" sldId="10257"/>
        </pc:sldMkLst>
        <pc:spChg chg="mod ord">
          <ac:chgData name="Toby James" userId="4852c070-2e6b-4fbf-b108-1679f58fc2a2" providerId="ADAL" clId="{811CBC0F-460C-4ED0-9AF6-D1F065CF5CCE}" dt="2021-02-08T01:58:03.661" v="355" actId="700"/>
          <ac:spMkLst>
            <pc:docMk/>
            <pc:sldMk cId="715880757" sldId="10257"/>
            <ac:spMk id="2" creationId="{7E1B0572-570C-4037-A38C-B659EC3CF876}"/>
          </ac:spMkLst>
        </pc:spChg>
        <pc:spChg chg="add del mod ord">
          <ac:chgData name="Toby James" userId="4852c070-2e6b-4fbf-b108-1679f58fc2a2" providerId="ADAL" clId="{811CBC0F-460C-4ED0-9AF6-D1F065CF5CCE}" dt="2021-02-08T01:52:15.983" v="19" actId="700"/>
          <ac:spMkLst>
            <pc:docMk/>
            <pc:sldMk cId="715880757" sldId="10257"/>
            <ac:spMk id="3" creationId="{C34B7B07-CBDC-45CF-9A7F-FDABF4D544E7}"/>
          </ac:spMkLst>
        </pc:spChg>
        <pc:spChg chg="add mod ord">
          <ac:chgData name="Toby James" userId="4852c070-2e6b-4fbf-b108-1679f58fc2a2" providerId="ADAL" clId="{811CBC0F-460C-4ED0-9AF6-D1F065CF5CCE}" dt="2021-02-08T01:58:03.661" v="355" actId="700"/>
          <ac:spMkLst>
            <pc:docMk/>
            <pc:sldMk cId="715880757" sldId="10257"/>
            <ac:spMk id="4" creationId="{0B81F966-4463-48B8-9C82-E244BE1BCAE2}"/>
          </ac:spMkLst>
        </pc:spChg>
      </pc:sldChg>
      <pc:sldChg chg="add del">
        <pc:chgData name="Toby James" userId="4852c070-2e6b-4fbf-b108-1679f58fc2a2" providerId="ADAL" clId="{811CBC0F-460C-4ED0-9AF6-D1F065CF5CCE}" dt="2021-02-08T02:19:45.636" v="358" actId="47"/>
        <pc:sldMkLst>
          <pc:docMk/>
          <pc:sldMk cId="3496112624" sldId="10258"/>
        </pc:sldMkLst>
      </pc:sldChg>
      <pc:sldChg chg="modSp add mod addCm modCm">
        <pc:chgData name="Toby James" userId="4852c070-2e6b-4fbf-b108-1679f58fc2a2" providerId="ADAL" clId="{811CBC0F-460C-4ED0-9AF6-D1F065CF5CCE}" dt="2021-02-15T00:38:03.484" v="3520"/>
        <pc:sldMkLst>
          <pc:docMk/>
          <pc:sldMk cId="706792741" sldId="10259"/>
        </pc:sldMkLst>
        <pc:graphicFrameChg chg="mod modGraphic">
          <ac:chgData name="Toby James" userId="4852c070-2e6b-4fbf-b108-1679f58fc2a2" providerId="ADAL" clId="{811CBC0F-460C-4ED0-9AF6-D1F065CF5CCE}" dt="2021-02-15T00:38:03.484" v="3520"/>
          <ac:graphicFrameMkLst>
            <pc:docMk/>
            <pc:sldMk cId="706792741" sldId="10259"/>
            <ac:graphicFrameMk id="8" creationId="{9C3FA538-2EEB-4441-958F-8EEC1522DF33}"/>
          </ac:graphicFrameMkLst>
        </pc:graphicFrameChg>
        <pc:graphicFrameChg chg="mod modGraphic">
          <ac:chgData name="Toby James" userId="4852c070-2e6b-4fbf-b108-1679f58fc2a2" providerId="ADAL" clId="{811CBC0F-460C-4ED0-9AF6-D1F065CF5CCE}" dt="2021-02-15T00:32:22.217" v="3382" actId="20577"/>
          <ac:graphicFrameMkLst>
            <pc:docMk/>
            <pc:sldMk cId="706792741" sldId="10259"/>
            <ac:graphicFrameMk id="12" creationId="{0BA42EE4-2131-467C-8AC6-CFACB976FC9C}"/>
          </ac:graphicFrameMkLst>
        </pc:graphicFrameChg>
      </pc:sldChg>
      <pc:sldChg chg="add del">
        <pc:chgData name="Toby James" userId="4852c070-2e6b-4fbf-b108-1679f58fc2a2" providerId="ADAL" clId="{811CBC0F-460C-4ED0-9AF6-D1F065CF5CCE}" dt="2021-02-08T02:22:04.889" v="363" actId="47"/>
        <pc:sldMkLst>
          <pc:docMk/>
          <pc:sldMk cId="324830679" sldId="10260"/>
        </pc:sldMkLst>
      </pc:sldChg>
      <pc:sldChg chg="modSp add mod modShow">
        <pc:chgData name="Toby James" userId="4852c070-2e6b-4fbf-b108-1679f58fc2a2" providerId="ADAL" clId="{811CBC0F-460C-4ED0-9AF6-D1F065CF5CCE}" dt="2021-02-11T00:26:44.786" v="394" actId="729"/>
        <pc:sldMkLst>
          <pc:docMk/>
          <pc:sldMk cId="3979634199" sldId="10260"/>
        </pc:sldMkLst>
        <pc:graphicFrameChg chg="mod modGraphic">
          <ac:chgData name="Toby James" userId="4852c070-2e6b-4fbf-b108-1679f58fc2a2" providerId="ADAL" clId="{811CBC0F-460C-4ED0-9AF6-D1F065CF5CCE}" dt="2021-02-08T02:32:21.317" v="386" actId="782"/>
          <ac:graphicFrameMkLst>
            <pc:docMk/>
            <pc:sldMk cId="3979634199" sldId="10260"/>
            <ac:graphicFrameMk id="7" creationId="{E1DA1B01-B825-4EF5-A3CE-BCA4EBDD6C74}"/>
          </ac:graphicFrameMkLst>
        </pc:graphicFrameChg>
      </pc:sldChg>
      <pc:sldChg chg="modSp add mod addCm">
        <pc:chgData name="Toby James" userId="4852c070-2e6b-4fbf-b108-1679f58fc2a2" providerId="ADAL" clId="{811CBC0F-460C-4ED0-9AF6-D1F065CF5CCE}" dt="2021-02-15T00:37:11.092" v="3487"/>
        <pc:sldMkLst>
          <pc:docMk/>
          <pc:sldMk cId="1419640178" sldId="10261"/>
        </pc:sldMkLst>
        <pc:spChg chg="mod">
          <ac:chgData name="Toby James" userId="4852c070-2e6b-4fbf-b108-1679f58fc2a2" providerId="ADAL" clId="{811CBC0F-460C-4ED0-9AF6-D1F065CF5CCE}" dt="2021-02-15T00:23:53.295" v="3143" actId="20577"/>
          <ac:spMkLst>
            <pc:docMk/>
            <pc:sldMk cId="1419640178" sldId="10261"/>
            <ac:spMk id="2" creationId="{11981002-9C29-43DD-9EFC-331DD8486892}"/>
          </ac:spMkLst>
        </pc:spChg>
        <pc:graphicFrameChg chg="mod modGraphic">
          <ac:chgData name="Toby James" userId="4852c070-2e6b-4fbf-b108-1679f58fc2a2" providerId="ADAL" clId="{811CBC0F-460C-4ED0-9AF6-D1F065CF5CCE}" dt="2021-02-15T00:37:11.092" v="3487"/>
          <ac:graphicFrameMkLst>
            <pc:docMk/>
            <pc:sldMk cId="1419640178" sldId="10261"/>
            <ac:graphicFrameMk id="8" creationId="{9C3FA538-2EEB-4441-958F-8EEC1522DF33}"/>
          </ac:graphicFrameMkLst>
        </pc:graphicFrameChg>
        <pc:graphicFrameChg chg="mod modGraphic">
          <ac:chgData name="Toby James" userId="4852c070-2e6b-4fbf-b108-1679f58fc2a2" providerId="ADAL" clId="{811CBC0F-460C-4ED0-9AF6-D1F065CF5CCE}" dt="2021-02-15T00:30:03.427" v="3347"/>
          <ac:graphicFrameMkLst>
            <pc:docMk/>
            <pc:sldMk cId="1419640178" sldId="10261"/>
            <ac:graphicFrameMk id="12" creationId="{0BA42EE4-2131-467C-8AC6-CFACB976FC9C}"/>
          </ac:graphicFrameMkLst>
        </pc:graphicFrameChg>
      </pc:sldChg>
      <pc:sldChg chg="modSp add mod">
        <pc:chgData name="Toby James" userId="4852c070-2e6b-4fbf-b108-1679f58fc2a2" providerId="ADAL" clId="{811CBC0F-460C-4ED0-9AF6-D1F065CF5CCE}" dt="2021-02-15T00:37:21.397" v="3497" actId="20577"/>
        <pc:sldMkLst>
          <pc:docMk/>
          <pc:sldMk cId="2361702661" sldId="10262"/>
        </pc:sldMkLst>
        <pc:spChg chg="mod">
          <ac:chgData name="Toby James" userId="4852c070-2e6b-4fbf-b108-1679f58fc2a2" providerId="ADAL" clId="{811CBC0F-460C-4ED0-9AF6-D1F065CF5CCE}" dt="2021-02-15T00:23:27.770" v="3094" actId="20577"/>
          <ac:spMkLst>
            <pc:docMk/>
            <pc:sldMk cId="2361702661" sldId="10262"/>
            <ac:spMk id="2" creationId="{11981002-9C29-43DD-9EFC-331DD8486892}"/>
          </ac:spMkLst>
        </pc:spChg>
        <pc:graphicFrameChg chg="mod modGraphic">
          <ac:chgData name="Toby James" userId="4852c070-2e6b-4fbf-b108-1679f58fc2a2" providerId="ADAL" clId="{811CBC0F-460C-4ED0-9AF6-D1F065CF5CCE}" dt="2021-02-15T00:37:21.397" v="3497" actId="20577"/>
          <ac:graphicFrameMkLst>
            <pc:docMk/>
            <pc:sldMk cId="2361702661" sldId="10262"/>
            <ac:graphicFrameMk id="8" creationId="{9C3FA538-2EEB-4441-958F-8EEC1522DF33}"/>
          </ac:graphicFrameMkLst>
        </pc:graphicFrameChg>
        <pc:graphicFrameChg chg="mod modGraphic">
          <ac:chgData name="Toby James" userId="4852c070-2e6b-4fbf-b108-1679f58fc2a2" providerId="ADAL" clId="{811CBC0F-460C-4ED0-9AF6-D1F065CF5CCE}" dt="2021-02-15T00:36:45.232" v="3472"/>
          <ac:graphicFrameMkLst>
            <pc:docMk/>
            <pc:sldMk cId="2361702661" sldId="10262"/>
            <ac:graphicFrameMk id="12" creationId="{0BA42EE4-2131-467C-8AC6-CFACB976FC9C}"/>
          </ac:graphicFrameMkLst>
        </pc:graphicFrameChg>
      </pc:sldChg>
      <pc:sldChg chg="modSp add mod">
        <pc:chgData name="Toby James" userId="4852c070-2e6b-4fbf-b108-1679f58fc2a2" providerId="ADAL" clId="{811CBC0F-460C-4ED0-9AF6-D1F065CF5CCE}" dt="2021-02-15T00:36:12.506" v="3438" actId="20577"/>
        <pc:sldMkLst>
          <pc:docMk/>
          <pc:sldMk cId="3865687768" sldId="10263"/>
        </pc:sldMkLst>
        <pc:spChg chg="mod">
          <ac:chgData name="Toby James" userId="4852c070-2e6b-4fbf-b108-1679f58fc2a2" providerId="ADAL" clId="{811CBC0F-460C-4ED0-9AF6-D1F065CF5CCE}" dt="2021-02-11T02:30:43.224" v="1744" actId="20577"/>
          <ac:spMkLst>
            <pc:docMk/>
            <pc:sldMk cId="3865687768" sldId="10263"/>
            <ac:spMk id="2" creationId="{11981002-9C29-43DD-9EFC-331DD8486892}"/>
          </ac:spMkLst>
        </pc:spChg>
        <pc:graphicFrameChg chg="mod modGraphic">
          <ac:chgData name="Toby James" userId="4852c070-2e6b-4fbf-b108-1679f58fc2a2" providerId="ADAL" clId="{811CBC0F-460C-4ED0-9AF6-D1F065CF5CCE}" dt="2021-02-15T00:36:12.506" v="3438" actId="20577"/>
          <ac:graphicFrameMkLst>
            <pc:docMk/>
            <pc:sldMk cId="3865687768" sldId="10263"/>
            <ac:graphicFrameMk id="8" creationId="{9C3FA538-2EEB-4441-958F-8EEC1522DF33}"/>
          </ac:graphicFrameMkLst>
        </pc:graphicFrameChg>
        <pc:graphicFrameChg chg="mod modGraphic">
          <ac:chgData name="Toby James" userId="4852c070-2e6b-4fbf-b108-1679f58fc2a2" providerId="ADAL" clId="{811CBC0F-460C-4ED0-9AF6-D1F065CF5CCE}" dt="2021-02-15T00:28:12.559" v="3325" actId="20577"/>
          <ac:graphicFrameMkLst>
            <pc:docMk/>
            <pc:sldMk cId="3865687768" sldId="10263"/>
            <ac:graphicFrameMk id="12" creationId="{0BA42EE4-2131-467C-8AC6-CFACB976FC9C}"/>
          </ac:graphicFrameMkLst>
        </pc:graphicFrameChg>
      </pc:sldChg>
      <pc:sldChg chg="modSp mod modCm">
        <pc:chgData name="Toby James" userId="4852c070-2e6b-4fbf-b108-1679f58fc2a2" providerId="ADAL" clId="{811CBC0F-460C-4ED0-9AF6-D1F065CF5CCE}" dt="2021-02-15T00:37:54.709" v="3519"/>
        <pc:sldMkLst>
          <pc:docMk/>
          <pc:sldMk cId="221291899" sldId="10264"/>
        </pc:sldMkLst>
        <pc:graphicFrameChg chg="mod modGraphic">
          <ac:chgData name="Toby James" userId="4852c070-2e6b-4fbf-b108-1679f58fc2a2" providerId="ADAL" clId="{811CBC0F-460C-4ED0-9AF6-D1F065CF5CCE}" dt="2021-02-15T00:37:54.709" v="3519"/>
          <ac:graphicFrameMkLst>
            <pc:docMk/>
            <pc:sldMk cId="221291899" sldId="10264"/>
            <ac:graphicFrameMk id="8" creationId="{9C3FA538-2EEB-4441-958F-8EEC1522DF33}"/>
          </ac:graphicFrameMkLst>
        </pc:graphicFrameChg>
        <pc:graphicFrameChg chg="mod">
          <ac:chgData name="Toby James" userId="4852c070-2e6b-4fbf-b108-1679f58fc2a2" providerId="ADAL" clId="{811CBC0F-460C-4ED0-9AF6-D1F065CF5CCE}" dt="2021-02-15T00:33:34.904" v="3398"/>
          <ac:graphicFrameMkLst>
            <pc:docMk/>
            <pc:sldMk cId="221291899" sldId="10264"/>
            <ac:graphicFrameMk id="12" creationId="{0BA42EE4-2131-467C-8AC6-CFACB976FC9C}"/>
          </ac:graphicFrameMkLst>
        </pc:graphicFrameChg>
      </pc:sldChg>
      <pc:sldChg chg="modSp mod">
        <pc:chgData name="Toby James" userId="4852c070-2e6b-4fbf-b108-1679f58fc2a2" providerId="ADAL" clId="{811CBC0F-460C-4ED0-9AF6-D1F065CF5CCE}" dt="2021-02-15T00:37:44.630" v="3518" actId="20577"/>
        <pc:sldMkLst>
          <pc:docMk/>
          <pc:sldMk cId="1648800858" sldId="10275"/>
        </pc:sldMkLst>
        <pc:graphicFrameChg chg="mod modGraphic">
          <ac:chgData name="Toby James" userId="4852c070-2e6b-4fbf-b108-1679f58fc2a2" providerId="ADAL" clId="{811CBC0F-460C-4ED0-9AF6-D1F065CF5CCE}" dt="2021-02-15T00:37:44.630" v="3518" actId="20577"/>
          <ac:graphicFrameMkLst>
            <pc:docMk/>
            <pc:sldMk cId="1648800858" sldId="10275"/>
            <ac:graphicFrameMk id="8" creationId="{9C3FA538-2EEB-4441-958F-8EEC1522DF33}"/>
          </ac:graphicFrameMkLst>
        </pc:graphicFrameChg>
      </pc:sldChg>
      <pc:sldChg chg="modSp mod">
        <pc:chgData name="Toby James" userId="4852c070-2e6b-4fbf-b108-1679f58fc2a2" providerId="ADAL" clId="{811CBC0F-460C-4ED0-9AF6-D1F065CF5CCE}" dt="2021-02-15T00:35:29.842" v="3405" actId="20577"/>
        <pc:sldMkLst>
          <pc:docMk/>
          <pc:sldMk cId="371622776" sldId="10283"/>
        </pc:sldMkLst>
        <pc:graphicFrameChg chg="modGraphic">
          <ac:chgData name="Toby James" userId="4852c070-2e6b-4fbf-b108-1679f58fc2a2" providerId="ADAL" clId="{811CBC0F-460C-4ED0-9AF6-D1F065CF5CCE}" dt="2021-02-15T00:35:29.842" v="3405" actId="20577"/>
          <ac:graphicFrameMkLst>
            <pc:docMk/>
            <pc:sldMk cId="371622776" sldId="10283"/>
            <ac:graphicFrameMk id="8" creationId="{9C3FA538-2EEB-4441-958F-8EEC1522DF33}"/>
          </ac:graphicFrameMkLst>
        </pc:graphicFrameChg>
      </pc:sldChg>
      <pc:sldChg chg="modSp mod">
        <pc:chgData name="Toby James" userId="4852c070-2e6b-4fbf-b108-1679f58fc2a2" providerId="ADAL" clId="{811CBC0F-460C-4ED0-9AF6-D1F065CF5CCE}" dt="2021-02-15T00:35:55.492" v="3419" actId="20577"/>
        <pc:sldMkLst>
          <pc:docMk/>
          <pc:sldMk cId="503916700" sldId="10284"/>
        </pc:sldMkLst>
        <pc:graphicFrameChg chg="mod modGraphic">
          <ac:chgData name="Toby James" userId="4852c070-2e6b-4fbf-b108-1679f58fc2a2" providerId="ADAL" clId="{811CBC0F-460C-4ED0-9AF6-D1F065CF5CCE}" dt="2021-02-15T00:35:55.492" v="3419" actId="20577"/>
          <ac:graphicFrameMkLst>
            <pc:docMk/>
            <pc:sldMk cId="503916700" sldId="10284"/>
            <ac:graphicFrameMk id="8" creationId="{9C3FA538-2EEB-4441-958F-8EEC1522DF33}"/>
          </ac:graphicFrameMkLst>
        </pc:graphicFrameChg>
      </pc:sldChg>
      <pc:sldChg chg="modSp">
        <pc:chgData name="Toby James" userId="4852c070-2e6b-4fbf-b108-1679f58fc2a2" providerId="ADAL" clId="{811CBC0F-460C-4ED0-9AF6-D1F065CF5CCE}" dt="2021-02-15T00:38:19.264" v="3522" actId="113"/>
        <pc:sldMkLst>
          <pc:docMk/>
          <pc:sldMk cId="2606447300" sldId="10285"/>
        </pc:sldMkLst>
        <pc:graphicFrameChg chg="mod">
          <ac:chgData name="Toby James" userId="4852c070-2e6b-4fbf-b108-1679f58fc2a2" providerId="ADAL" clId="{811CBC0F-460C-4ED0-9AF6-D1F065CF5CCE}" dt="2021-02-15T00:38:19.264" v="3522" actId="113"/>
          <ac:graphicFrameMkLst>
            <pc:docMk/>
            <pc:sldMk cId="2606447300" sldId="10285"/>
            <ac:graphicFrameMk id="8" creationId="{9C3FA538-2EEB-4441-958F-8EEC1522DF33}"/>
          </ac:graphicFrameMkLst>
        </pc:graphicFrameChg>
      </pc:sldChg>
      <pc:sldChg chg="modSp">
        <pc:chgData name="Toby James" userId="4852c070-2e6b-4fbf-b108-1679f58fc2a2" providerId="ADAL" clId="{811CBC0F-460C-4ED0-9AF6-D1F065CF5CCE}" dt="2021-02-15T00:38:54.867" v="3523"/>
        <pc:sldMkLst>
          <pc:docMk/>
          <pc:sldMk cId="3619002474" sldId="10286"/>
        </pc:sldMkLst>
        <pc:graphicFrameChg chg="mod">
          <ac:chgData name="Toby James" userId="4852c070-2e6b-4fbf-b108-1679f58fc2a2" providerId="ADAL" clId="{811CBC0F-460C-4ED0-9AF6-D1F065CF5CCE}" dt="2021-02-15T00:38:54.867" v="3523"/>
          <ac:graphicFrameMkLst>
            <pc:docMk/>
            <pc:sldMk cId="3619002474" sldId="10286"/>
            <ac:graphicFrameMk id="8" creationId="{9C3FA538-2EEB-4441-958F-8EEC1522DF33}"/>
          </ac:graphicFrameMkLst>
        </pc:graphicFrameChg>
      </pc:sldChg>
      <pc:sldMasterChg chg="addSldLayout modSldLayout">
        <pc:chgData name="Toby James" userId="4852c070-2e6b-4fbf-b108-1679f58fc2a2" providerId="ADAL" clId="{811CBC0F-460C-4ED0-9AF6-D1F065CF5CCE}" dt="2021-02-08T02:19:40.085" v="357" actId="22"/>
        <pc:sldMasterMkLst>
          <pc:docMk/>
          <pc:sldMasterMk cId="993860654" sldId="2147483660"/>
        </pc:sldMasterMkLst>
        <pc:sldLayoutChg chg="add mod">
          <pc:chgData name="Toby James" userId="4852c070-2e6b-4fbf-b108-1679f58fc2a2" providerId="ADAL" clId="{811CBC0F-460C-4ED0-9AF6-D1F065CF5CCE}" dt="2021-02-08T02:02:22.432" v="356" actId="22"/>
          <pc:sldLayoutMkLst>
            <pc:docMk/>
            <pc:sldMasterMk cId="993860654" sldId="2147483660"/>
            <pc:sldLayoutMk cId="3875869528" sldId="2147483707"/>
          </pc:sldLayoutMkLst>
        </pc:sldLayoutChg>
        <pc:sldLayoutChg chg="add mod">
          <pc:chgData name="Toby James" userId="4852c070-2e6b-4fbf-b108-1679f58fc2a2" providerId="ADAL" clId="{811CBC0F-460C-4ED0-9AF6-D1F065CF5CCE}" dt="2021-02-08T02:19:40.085" v="357" actId="22"/>
          <pc:sldLayoutMkLst>
            <pc:docMk/>
            <pc:sldMasterMk cId="993860654" sldId="2147483660"/>
            <pc:sldLayoutMk cId="2275524993" sldId="2147483708"/>
          </pc:sldLayoutMkLst>
        </pc:sldLayoutChg>
      </pc:sldMasterChg>
    </pc:docChg>
  </pc:docChgLst>
  <pc:docChgLst>
    <pc:chgData name="Toby James" userId="S::tojame@microsoft.com::4852c070-2e6b-4fbf-b108-1679f58fc2a2" providerId="AD" clId="Web-{1AAF0193-AF94-5B89-8F69-28B98197BB9B}"/>
    <pc:docChg chg="modSld">
      <pc:chgData name="Toby James" userId="S::tojame@microsoft.com::4852c070-2e6b-4fbf-b108-1679f58fc2a2" providerId="AD" clId="Web-{1AAF0193-AF94-5B89-8F69-28B98197BB9B}" dt="2021-02-15T00:17:50.797" v="9" actId="20577"/>
      <pc:docMkLst>
        <pc:docMk/>
      </pc:docMkLst>
      <pc:sldChg chg="modCm">
        <pc:chgData name="Toby James" userId="S::tojame@microsoft.com::4852c070-2e6b-4fbf-b108-1679f58fc2a2" providerId="AD" clId="Web-{1AAF0193-AF94-5B89-8F69-28B98197BB9B}" dt="2021-02-15T00:13:10.497" v="1"/>
        <pc:sldMkLst>
          <pc:docMk/>
          <pc:sldMk cId="706792741" sldId="10259"/>
        </pc:sldMkLst>
      </pc:sldChg>
      <pc:sldChg chg="modSp">
        <pc:chgData name="Toby James" userId="S::tojame@microsoft.com::4852c070-2e6b-4fbf-b108-1679f58fc2a2" providerId="AD" clId="Web-{1AAF0193-AF94-5B89-8F69-28B98197BB9B}" dt="2021-02-15T00:17:50.797" v="9" actId="20577"/>
        <pc:sldMkLst>
          <pc:docMk/>
          <pc:sldMk cId="2361702661" sldId="10262"/>
        </pc:sldMkLst>
        <pc:graphicFrameChg chg="modGraphic">
          <ac:chgData name="Toby James" userId="S::tojame@microsoft.com::4852c070-2e6b-4fbf-b108-1679f58fc2a2" providerId="AD" clId="Web-{1AAF0193-AF94-5B89-8F69-28B98197BB9B}" dt="2021-02-15T00:17:12.013" v="6" actId="20577"/>
          <ac:graphicFrameMkLst>
            <pc:docMk/>
            <pc:sldMk cId="2361702661" sldId="10262"/>
            <ac:graphicFrameMk id="8" creationId="{9C3FA538-2EEB-4441-958F-8EEC1522DF33}"/>
          </ac:graphicFrameMkLst>
        </pc:graphicFrameChg>
        <pc:graphicFrameChg chg="modGraphic">
          <ac:chgData name="Toby James" userId="S::tojame@microsoft.com::4852c070-2e6b-4fbf-b108-1679f58fc2a2" providerId="AD" clId="Web-{1AAF0193-AF94-5B89-8F69-28B98197BB9B}" dt="2021-02-15T00:17:50.797" v="9" actId="20577"/>
          <ac:graphicFrameMkLst>
            <pc:docMk/>
            <pc:sldMk cId="2361702661" sldId="10262"/>
            <ac:graphicFrameMk id="12" creationId="{0BA42EE4-2131-467C-8AC6-CFACB976FC9C}"/>
          </ac:graphicFrameMkLst>
        </pc:graphicFrameChg>
      </pc:sldChg>
    </pc:docChg>
  </pc:docChgLst>
  <pc:docChgLst>
    <pc:chgData name="Kuntal Ghoshal" userId="9365114f-3662-492a-8f44-5af3c15a2194" providerId="ADAL" clId="{73A5AA42-C53E-4AA3-9B84-4BF4DACB447E}"/>
    <pc:docChg chg="modSld sldOrd">
      <pc:chgData name="Kuntal Ghoshal" userId="9365114f-3662-492a-8f44-5af3c15a2194" providerId="ADAL" clId="{73A5AA42-C53E-4AA3-9B84-4BF4DACB447E}" dt="2021-04-08T13:31:14.537" v="1"/>
      <pc:docMkLst>
        <pc:docMk/>
      </pc:docMkLst>
      <pc:sldChg chg="ord">
        <pc:chgData name="Kuntal Ghoshal" userId="9365114f-3662-492a-8f44-5af3c15a2194" providerId="ADAL" clId="{73A5AA42-C53E-4AA3-9B84-4BF4DACB447E}" dt="2021-04-08T13:31:14.537" v="1"/>
        <pc:sldMkLst>
          <pc:docMk/>
          <pc:sldMk cId="2238344170" sldId="10250"/>
        </pc:sldMkLst>
      </pc:sldChg>
    </pc:docChg>
  </pc:docChgLst>
  <pc:docChgLst>
    <pc:chgData name="Ajit Kotwal" userId="781b8ab5-6f9a-4511-aed5-b50cf9e67252" providerId="ADAL" clId="{A88B2DB9-5DE3-4608-9610-1AFBB2D5EFB6}"/>
    <pc:docChg chg="sldOrd">
      <pc:chgData name="Ajit Kotwal" userId="781b8ab5-6f9a-4511-aed5-b50cf9e67252" providerId="ADAL" clId="{A88B2DB9-5DE3-4608-9610-1AFBB2D5EFB6}" dt="2021-03-23T10:26:33.932" v="0" actId="20578"/>
      <pc:docMkLst>
        <pc:docMk/>
      </pc:docMkLst>
      <pc:sldChg chg="ord">
        <pc:chgData name="Ajit Kotwal" userId="781b8ab5-6f9a-4511-aed5-b50cf9e67252" providerId="ADAL" clId="{A88B2DB9-5DE3-4608-9610-1AFBB2D5EFB6}" dt="2021-03-23T10:26:33.932" v="0" actId="20578"/>
        <pc:sldMkLst>
          <pc:docMk/>
          <pc:sldMk cId="2238344170" sldId="10250"/>
        </pc:sldMkLst>
      </pc:sldChg>
    </pc:docChg>
  </pc:docChgLst>
  <pc:docChgLst>
    <pc:chgData name="Ajit Kotwal" userId="781b8ab5-6f9a-4511-aed5-b50cf9e67252" providerId="ADAL" clId="{27E91C08-3CA6-4129-AF6E-449EA40E5C4F}"/>
    <pc:docChg chg="undo custSel addSld delSld modSld sldOrd modSection">
      <pc:chgData name="Ajit Kotwal" userId="781b8ab5-6f9a-4511-aed5-b50cf9e67252" providerId="ADAL" clId="{27E91C08-3CA6-4129-AF6E-449EA40E5C4F}" dt="2021-02-15T09:56:07.726" v="9492"/>
      <pc:docMkLst>
        <pc:docMk/>
      </pc:docMkLst>
      <pc:sldChg chg="addSp delSp modSp add del mod">
        <pc:chgData name="Ajit Kotwal" userId="781b8ab5-6f9a-4511-aed5-b50cf9e67252" providerId="ADAL" clId="{27E91C08-3CA6-4129-AF6E-449EA40E5C4F}" dt="2021-02-07T21:10:25.689" v="2496" actId="478"/>
        <pc:sldMkLst>
          <pc:docMk/>
          <pc:sldMk cId="1094870920" sldId="1735"/>
        </pc:sldMkLst>
        <pc:spChg chg="mod">
          <ac:chgData name="Ajit Kotwal" userId="781b8ab5-6f9a-4511-aed5-b50cf9e67252" providerId="ADAL" clId="{27E91C08-3CA6-4129-AF6E-449EA40E5C4F}" dt="2021-02-07T21:08:04.152" v="2433" actId="1035"/>
          <ac:spMkLst>
            <pc:docMk/>
            <pc:sldMk cId="1094870920" sldId="1735"/>
            <ac:spMk id="4" creationId="{AEB24241-BB4A-41B3-8932-6471BC2563BB}"/>
          </ac:spMkLst>
        </pc:spChg>
        <pc:spChg chg="mod">
          <ac:chgData name="Ajit Kotwal" userId="781b8ab5-6f9a-4511-aed5-b50cf9e67252" providerId="ADAL" clId="{27E91C08-3CA6-4129-AF6E-449EA40E5C4F}" dt="2021-02-07T21:09:10.872" v="2486" actId="1035"/>
          <ac:spMkLst>
            <pc:docMk/>
            <pc:sldMk cId="1094870920" sldId="1735"/>
            <ac:spMk id="5" creationId="{CE9BBCE3-8743-4C99-BEC8-0DE48BD28E1F}"/>
          </ac:spMkLst>
        </pc:spChg>
        <pc:spChg chg="add del mod">
          <ac:chgData name="Ajit Kotwal" userId="781b8ab5-6f9a-4511-aed5-b50cf9e67252" providerId="ADAL" clId="{27E91C08-3CA6-4129-AF6E-449EA40E5C4F}" dt="2021-02-07T21:10:14.210" v="2494" actId="478"/>
          <ac:spMkLst>
            <pc:docMk/>
            <pc:sldMk cId="1094870920" sldId="1735"/>
            <ac:spMk id="64" creationId="{AC6B2404-C5DE-464E-8027-6E5FF891A22D}"/>
          </ac:spMkLst>
        </pc:spChg>
        <pc:spChg chg="mod">
          <ac:chgData name="Ajit Kotwal" userId="781b8ab5-6f9a-4511-aed5-b50cf9e67252" providerId="ADAL" clId="{27E91C08-3CA6-4129-AF6E-449EA40E5C4F}" dt="2021-02-07T21:06:54.704" v="2348" actId="20577"/>
          <ac:spMkLst>
            <pc:docMk/>
            <pc:sldMk cId="1094870920" sldId="1735"/>
            <ac:spMk id="70" creationId="{1CE81B94-64B5-49BC-8A00-1B321C123F69}"/>
          </ac:spMkLst>
        </pc:spChg>
        <pc:spChg chg="mod">
          <ac:chgData name="Ajit Kotwal" userId="781b8ab5-6f9a-4511-aed5-b50cf9e67252" providerId="ADAL" clId="{27E91C08-3CA6-4129-AF6E-449EA40E5C4F}" dt="2021-02-07T21:03:44.093" v="2159" actId="20577"/>
          <ac:spMkLst>
            <pc:docMk/>
            <pc:sldMk cId="1094870920" sldId="1735"/>
            <ac:spMk id="75" creationId="{89B2625A-7450-4332-BC67-FFAD4032511F}"/>
          </ac:spMkLst>
        </pc:spChg>
        <pc:spChg chg="mod">
          <ac:chgData name="Ajit Kotwal" userId="781b8ab5-6f9a-4511-aed5-b50cf9e67252" providerId="ADAL" clId="{27E91C08-3CA6-4129-AF6E-449EA40E5C4F}" dt="2021-02-07T21:03:15.866" v="2136"/>
          <ac:spMkLst>
            <pc:docMk/>
            <pc:sldMk cId="1094870920" sldId="1735"/>
            <ac:spMk id="77" creationId="{D85D5318-D99F-4EDD-BA24-123B8848C8E2}"/>
          </ac:spMkLst>
        </pc:spChg>
        <pc:spChg chg="mod">
          <ac:chgData name="Ajit Kotwal" userId="781b8ab5-6f9a-4511-aed5-b50cf9e67252" providerId="ADAL" clId="{27E91C08-3CA6-4129-AF6E-449EA40E5C4F}" dt="2021-02-07T21:03:15.866" v="2136"/>
          <ac:spMkLst>
            <pc:docMk/>
            <pc:sldMk cId="1094870920" sldId="1735"/>
            <ac:spMk id="78" creationId="{5F131F46-5E95-409E-8E27-14AD0C78983E}"/>
          </ac:spMkLst>
        </pc:spChg>
        <pc:spChg chg="mod">
          <ac:chgData name="Ajit Kotwal" userId="781b8ab5-6f9a-4511-aed5-b50cf9e67252" providerId="ADAL" clId="{27E91C08-3CA6-4129-AF6E-449EA40E5C4F}" dt="2021-02-07T21:09:39.109" v="2492" actId="20577"/>
          <ac:spMkLst>
            <pc:docMk/>
            <pc:sldMk cId="1094870920" sldId="1735"/>
            <ac:spMk id="85" creationId="{8DE2201B-869B-46E1-9DBD-5685B60F9033}"/>
          </ac:spMkLst>
        </pc:spChg>
        <pc:spChg chg="add del mod">
          <ac:chgData name="Ajit Kotwal" userId="781b8ab5-6f9a-4511-aed5-b50cf9e67252" providerId="ADAL" clId="{27E91C08-3CA6-4129-AF6E-449EA40E5C4F}" dt="2021-02-07T21:10:11.040" v="2493" actId="478"/>
          <ac:spMkLst>
            <pc:docMk/>
            <pc:sldMk cId="1094870920" sldId="1735"/>
            <ac:spMk id="97" creationId="{CD0122D9-FBC6-446F-9D67-56A9D8BB76AC}"/>
          </ac:spMkLst>
        </pc:spChg>
        <pc:spChg chg="mod">
          <ac:chgData name="Ajit Kotwal" userId="781b8ab5-6f9a-4511-aed5-b50cf9e67252" providerId="ADAL" clId="{27E91C08-3CA6-4129-AF6E-449EA40E5C4F}" dt="2021-02-07T21:04:10.380" v="2188" actId="20577"/>
          <ac:spMkLst>
            <pc:docMk/>
            <pc:sldMk cId="1094870920" sldId="1735"/>
            <ac:spMk id="106" creationId="{687ADBDF-B730-4EA0-979B-30E0889CBA59}"/>
          </ac:spMkLst>
        </pc:spChg>
        <pc:spChg chg="mod">
          <ac:chgData name="Ajit Kotwal" userId="781b8ab5-6f9a-4511-aed5-b50cf9e67252" providerId="ADAL" clId="{27E91C08-3CA6-4129-AF6E-449EA40E5C4F}" dt="2021-02-07T21:04:44.292" v="2222" actId="6549"/>
          <ac:spMkLst>
            <pc:docMk/>
            <pc:sldMk cId="1094870920" sldId="1735"/>
            <ac:spMk id="109" creationId="{3E4DFA63-3F0D-487B-A03F-3BEC2E1DBE83}"/>
          </ac:spMkLst>
        </pc:spChg>
        <pc:spChg chg="mod">
          <ac:chgData name="Ajit Kotwal" userId="781b8ab5-6f9a-4511-aed5-b50cf9e67252" providerId="ADAL" clId="{27E91C08-3CA6-4129-AF6E-449EA40E5C4F}" dt="2021-02-07T21:03:47.283" v="2160"/>
          <ac:spMkLst>
            <pc:docMk/>
            <pc:sldMk cId="1094870920" sldId="1735"/>
            <ac:spMk id="113" creationId="{BCC82F5C-76AA-418B-928A-E63F86611314}"/>
          </ac:spMkLst>
        </pc:spChg>
        <pc:spChg chg="mod">
          <ac:chgData name="Ajit Kotwal" userId="781b8ab5-6f9a-4511-aed5-b50cf9e67252" providerId="ADAL" clId="{27E91C08-3CA6-4129-AF6E-449EA40E5C4F}" dt="2021-02-07T21:03:47.283" v="2160"/>
          <ac:spMkLst>
            <pc:docMk/>
            <pc:sldMk cId="1094870920" sldId="1735"/>
            <ac:spMk id="114" creationId="{70C6D8CD-F571-4AA3-A93F-82200F490E4B}"/>
          </ac:spMkLst>
        </pc:spChg>
        <pc:spChg chg="add del mod">
          <ac:chgData name="Ajit Kotwal" userId="781b8ab5-6f9a-4511-aed5-b50cf9e67252" providerId="ADAL" clId="{27E91C08-3CA6-4129-AF6E-449EA40E5C4F}" dt="2021-02-07T21:10:19.302" v="2495" actId="478"/>
          <ac:spMkLst>
            <pc:docMk/>
            <pc:sldMk cId="1094870920" sldId="1735"/>
            <ac:spMk id="117" creationId="{CBF4FCD5-3320-46F6-A8A3-06123375CAB3}"/>
          </ac:spMkLst>
        </pc:spChg>
        <pc:spChg chg="mod">
          <ac:chgData name="Ajit Kotwal" userId="781b8ab5-6f9a-4511-aed5-b50cf9e67252" providerId="ADAL" clId="{27E91C08-3CA6-4129-AF6E-449EA40E5C4F}" dt="2021-02-07T21:07:46.611" v="2398" actId="20577"/>
          <ac:spMkLst>
            <pc:docMk/>
            <pc:sldMk cId="1094870920" sldId="1735"/>
            <ac:spMk id="119" creationId="{5BF6511F-CE5D-4CC8-B618-38F144A33D7E}"/>
          </ac:spMkLst>
        </pc:spChg>
        <pc:spChg chg="mod">
          <ac:chgData name="Ajit Kotwal" userId="781b8ab5-6f9a-4511-aed5-b50cf9e67252" providerId="ADAL" clId="{27E91C08-3CA6-4129-AF6E-449EA40E5C4F}" dt="2021-02-07T21:07:31.492" v="2384"/>
          <ac:spMkLst>
            <pc:docMk/>
            <pc:sldMk cId="1094870920" sldId="1735"/>
            <ac:spMk id="121" creationId="{2E0B2EA2-42DE-426F-914F-DA7D2A7C8233}"/>
          </ac:spMkLst>
        </pc:spChg>
        <pc:spChg chg="mod">
          <ac:chgData name="Ajit Kotwal" userId="781b8ab5-6f9a-4511-aed5-b50cf9e67252" providerId="ADAL" clId="{27E91C08-3CA6-4129-AF6E-449EA40E5C4F}" dt="2021-02-07T21:07:31.492" v="2384"/>
          <ac:spMkLst>
            <pc:docMk/>
            <pc:sldMk cId="1094870920" sldId="1735"/>
            <ac:spMk id="122" creationId="{35960CEE-F978-4854-8BCC-8E6C8EF2F048}"/>
          </ac:spMkLst>
        </pc:spChg>
        <pc:spChg chg="add del mod">
          <ac:chgData name="Ajit Kotwal" userId="781b8ab5-6f9a-4511-aed5-b50cf9e67252" providerId="ADAL" clId="{27E91C08-3CA6-4129-AF6E-449EA40E5C4F}" dt="2021-02-07T21:10:25.689" v="2496" actId="478"/>
          <ac:spMkLst>
            <pc:docMk/>
            <pc:sldMk cId="1094870920" sldId="1735"/>
            <ac:spMk id="125" creationId="{2EBB77FC-6490-48C1-8118-2E892D981A96}"/>
          </ac:spMkLst>
        </pc:spChg>
        <pc:spChg chg="mod">
          <ac:chgData name="Ajit Kotwal" userId="781b8ab5-6f9a-4511-aed5-b50cf9e67252" providerId="ADAL" clId="{27E91C08-3CA6-4129-AF6E-449EA40E5C4F}" dt="2021-02-07T21:09:34.978" v="2489"/>
          <ac:spMkLst>
            <pc:docMk/>
            <pc:sldMk cId="1094870920" sldId="1735"/>
            <ac:spMk id="127" creationId="{9F3C9539-2BBD-4640-8275-CC4CF140FF51}"/>
          </ac:spMkLst>
        </pc:spChg>
        <pc:spChg chg="mod">
          <ac:chgData name="Ajit Kotwal" userId="781b8ab5-6f9a-4511-aed5-b50cf9e67252" providerId="ADAL" clId="{27E91C08-3CA6-4129-AF6E-449EA40E5C4F}" dt="2021-02-07T21:09:20.828" v="2487"/>
          <ac:spMkLst>
            <pc:docMk/>
            <pc:sldMk cId="1094870920" sldId="1735"/>
            <ac:spMk id="129" creationId="{4FC734F3-C3B5-4C40-88ED-501F44A1D508}"/>
          </ac:spMkLst>
        </pc:spChg>
        <pc:spChg chg="mod">
          <ac:chgData name="Ajit Kotwal" userId="781b8ab5-6f9a-4511-aed5-b50cf9e67252" providerId="ADAL" clId="{27E91C08-3CA6-4129-AF6E-449EA40E5C4F}" dt="2021-02-07T21:09:20.828" v="2487"/>
          <ac:spMkLst>
            <pc:docMk/>
            <pc:sldMk cId="1094870920" sldId="1735"/>
            <ac:spMk id="130" creationId="{73D2AB1C-69A3-4576-86F4-CF0AE2FBEB92}"/>
          </ac:spMkLst>
        </pc:spChg>
        <pc:grpChg chg="mod">
          <ac:chgData name="Ajit Kotwal" userId="781b8ab5-6f9a-4511-aed5-b50cf9e67252" providerId="ADAL" clId="{27E91C08-3CA6-4129-AF6E-449EA40E5C4F}" dt="2021-02-07T21:03:06.175" v="2135" actId="1076"/>
          <ac:grpSpMkLst>
            <pc:docMk/>
            <pc:sldMk cId="1094870920" sldId="1735"/>
            <ac:grpSpMk id="54" creationId="{E3151547-6629-4A30-85D7-9026BFEC7DB1}"/>
          </ac:grpSpMkLst>
        </pc:grpChg>
        <pc:grpChg chg="del">
          <ac:chgData name="Ajit Kotwal" userId="781b8ab5-6f9a-4511-aed5-b50cf9e67252" providerId="ADAL" clId="{27E91C08-3CA6-4129-AF6E-449EA40E5C4F}" dt="2021-02-07T09:55:01.177" v="0" actId="478"/>
          <ac:grpSpMkLst>
            <pc:docMk/>
            <pc:sldMk cId="1094870920" sldId="1735"/>
            <ac:grpSpMk id="59" creationId="{77ACF46A-463D-47C7-864A-28AF0D80B0C8}"/>
          </ac:grpSpMkLst>
        </pc:grpChg>
        <pc:grpChg chg="del">
          <ac:chgData name="Ajit Kotwal" userId="781b8ab5-6f9a-4511-aed5-b50cf9e67252" providerId="ADAL" clId="{27E91C08-3CA6-4129-AF6E-449EA40E5C4F}" dt="2021-02-07T21:03:25.156" v="2138" actId="478"/>
          <ac:grpSpMkLst>
            <pc:docMk/>
            <pc:sldMk cId="1094870920" sldId="1735"/>
            <ac:grpSpMk id="66" creationId="{3E8DCA24-F689-4F52-AC15-9977600BCF8E}"/>
          </ac:grpSpMkLst>
        </pc:grpChg>
        <pc:grpChg chg="mod">
          <ac:chgData name="Ajit Kotwal" userId="781b8ab5-6f9a-4511-aed5-b50cf9e67252" providerId="ADAL" clId="{27E91C08-3CA6-4129-AF6E-449EA40E5C4F}" dt="2021-02-07T21:08:04.152" v="2433" actId="1035"/>
          <ac:grpSpMkLst>
            <pc:docMk/>
            <pc:sldMk cId="1094870920" sldId="1735"/>
            <ac:grpSpMk id="69" creationId="{199D9518-4245-48DA-AFDC-44848BB4C33A}"/>
          </ac:grpSpMkLst>
        </pc:grpChg>
        <pc:grpChg chg="add mod">
          <ac:chgData name="Ajit Kotwal" userId="781b8ab5-6f9a-4511-aed5-b50cf9e67252" providerId="ADAL" clId="{27E91C08-3CA6-4129-AF6E-449EA40E5C4F}" dt="2021-02-07T21:03:23.072" v="2137" actId="1076"/>
          <ac:grpSpMkLst>
            <pc:docMk/>
            <pc:sldMk cId="1094870920" sldId="1735"/>
            <ac:grpSpMk id="74" creationId="{3823A448-5868-4E3E-9475-45AE56B3BB06}"/>
          </ac:grpSpMkLst>
        </pc:grpChg>
        <pc:grpChg chg="mod">
          <ac:chgData name="Ajit Kotwal" userId="781b8ab5-6f9a-4511-aed5-b50cf9e67252" providerId="ADAL" clId="{27E91C08-3CA6-4129-AF6E-449EA40E5C4F}" dt="2021-02-07T21:03:15.866" v="2136"/>
          <ac:grpSpMkLst>
            <pc:docMk/>
            <pc:sldMk cId="1094870920" sldId="1735"/>
            <ac:grpSpMk id="76" creationId="{EB67C6B5-DE70-49DA-9A56-E97042CA010E}"/>
          </ac:grpSpMkLst>
        </pc:grpChg>
        <pc:grpChg chg="mod">
          <ac:chgData name="Ajit Kotwal" userId="781b8ab5-6f9a-4511-aed5-b50cf9e67252" providerId="ADAL" clId="{27E91C08-3CA6-4129-AF6E-449EA40E5C4F}" dt="2021-02-07T21:09:10.872" v="2486" actId="1035"/>
          <ac:grpSpMkLst>
            <pc:docMk/>
            <pc:sldMk cId="1094870920" sldId="1735"/>
            <ac:grpSpMk id="79" creationId="{00543721-9F23-4D2C-A13E-D93B984A9FDA}"/>
          </ac:grpSpMkLst>
        </pc:grpChg>
        <pc:grpChg chg="mod">
          <ac:chgData name="Ajit Kotwal" userId="781b8ab5-6f9a-4511-aed5-b50cf9e67252" providerId="ADAL" clId="{27E91C08-3CA6-4129-AF6E-449EA40E5C4F}" dt="2021-02-07T21:09:10.872" v="2486" actId="1035"/>
          <ac:grpSpMkLst>
            <pc:docMk/>
            <pc:sldMk cId="1094870920" sldId="1735"/>
            <ac:grpSpMk id="84" creationId="{95831B84-1C17-4A14-9584-93D7C92B4AC9}"/>
          </ac:grpSpMkLst>
        </pc:grpChg>
        <pc:grpChg chg="add mod">
          <ac:chgData name="Ajit Kotwal" userId="781b8ab5-6f9a-4511-aed5-b50cf9e67252" providerId="ADAL" clId="{27E91C08-3CA6-4129-AF6E-449EA40E5C4F}" dt="2021-02-07T21:03:54.661" v="2161" actId="1076"/>
          <ac:grpSpMkLst>
            <pc:docMk/>
            <pc:sldMk cId="1094870920" sldId="1735"/>
            <ac:grpSpMk id="99" creationId="{3EBD8192-702E-4D55-BA67-A0309F7DF611}"/>
          </ac:grpSpMkLst>
        </pc:grpChg>
        <pc:grpChg chg="mod">
          <ac:chgData name="Ajit Kotwal" userId="781b8ab5-6f9a-4511-aed5-b50cf9e67252" providerId="ADAL" clId="{27E91C08-3CA6-4129-AF6E-449EA40E5C4F}" dt="2021-02-07T21:03:47.283" v="2160"/>
          <ac:grpSpMkLst>
            <pc:docMk/>
            <pc:sldMk cId="1094870920" sldId="1735"/>
            <ac:grpSpMk id="107" creationId="{374AA53D-9B27-42B4-B7A1-A0B2CB19B801}"/>
          </ac:grpSpMkLst>
        </pc:grpChg>
        <pc:grpChg chg="del mod">
          <ac:chgData name="Ajit Kotwal" userId="781b8ab5-6f9a-4511-aed5-b50cf9e67252" providerId="ADAL" clId="{27E91C08-3CA6-4129-AF6E-449EA40E5C4F}" dt="2021-02-07T21:04:55.832" v="2223" actId="478"/>
          <ac:grpSpMkLst>
            <pc:docMk/>
            <pc:sldMk cId="1094870920" sldId="1735"/>
            <ac:grpSpMk id="108" creationId="{1968FCB1-4939-4B68-8DC9-516AB0B3F2DD}"/>
          </ac:grpSpMkLst>
        </pc:grpChg>
        <pc:grpChg chg="add mod">
          <ac:chgData name="Ajit Kotwal" userId="781b8ab5-6f9a-4511-aed5-b50cf9e67252" providerId="ADAL" clId="{27E91C08-3CA6-4129-AF6E-449EA40E5C4F}" dt="2021-02-07T21:07:40.060" v="2385" actId="1076"/>
          <ac:grpSpMkLst>
            <pc:docMk/>
            <pc:sldMk cId="1094870920" sldId="1735"/>
            <ac:grpSpMk id="118" creationId="{B9BD788A-5AF8-4256-B2AF-9437E8A039DD}"/>
          </ac:grpSpMkLst>
        </pc:grpChg>
        <pc:grpChg chg="mod">
          <ac:chgData name="Ajit Kotwal" userId="781b8ab5-6f9a-4511-aed5-b50cf9e67252" providerId="ADAL" clId="{27E91C08-3CA6-4129-AF6E-449EA40E5C4F}" dt="2021-02-07T21:07:31.492" v="2384"/>
          <ac:grpSpMkLst>
            <pc:docMk/>
            <pc:sldMk cId="1094870920" sldId="1735"/>
            <ac:grpSpMk id="120" creationId="{AE630AEC-7425-4EA1-8159-9B0751D9A302}"/>
          </ac:grpSpMkLst>
        </pc:grpChg>
        <pc:grpChg chg="add mod">
          <ac:chgData name="Ajit Kotwal" userId="781b8ab5-6f9a-4511-aed5-b50cf9e67252" providerId="ADAL" clId="{27E91C08-3CA6-4129-AF6E-449EA40E5C4F}" dt="2021-02-07T21:09:28.107" v="2488" actId="1076"/>
          <ac:grpSpMkLst>
            <pc:docMk/>
            <pc:sldMk cId="1094870920" sldId="1735"/>
            <ac:grpSpMk id="126" creationId="{777353BD-1AE0-47AF-B0AB-CCB3DB2AB325}"/>
          </ac:grpSpMkLst>
        </pc:grpChg>
        <pc:grpChg chg="mod">
          <ac:chgData name="Ajit Kotwal" userId="781b8ab5-6f9a-4511-aed5-b50cf9e67252" providerId="ADAL" clId="{27E91C08-3CA6-4129-AF6E-449EA40E5C4F}" dt="2021-02-07T21:09:20.828" v="2487"/>
          <ac:grpSpMkLst>
            <pc:docMk/>
            <pc:sldMk cId="1094870920" sldId="1735"/>
            <ac:grpSpMk id="128" creationId="{E6584A59-62BA-40DC-8B7B-056C05275E7B}"/>
          </ac:grpSpMkLst>
        </pc:grpChg>
        <pc:cxnChg chg="mod">
          <ac:chgData name="Ajit Kotwal" userId="781b8ab5-6f9a-4511-aed5-b50cf9e67252" providerId="ADAL" clId="{27E91C08-3CA6-4129-AF6E-449EA40E5C4F}" dt="2021-02-07T21:08:04.152" v="2433" actId="1035"/>
          <ac:cxnSpMkLst>
            <pc:docMk/>
            <pc:sldMk cId="1094870920" sldId="1735"/>
            <ac:cxnSpMk id="48" creationId="{7354E8F2-26A2-4CCA-89B8-65B9B53DA07B}"/>
          </ac:cxnSpMkLst>
        </pc:cxnChg>
        <pc:cxnChg chg="mod">
          <ac:chgData name="Ajit Kotwal" userId="781b8ab5-6f9a-4511-aed5-b50cf9e67252" providerId="ADAL" clId="{27E91C08-3CA6-4129-AF6E-449EA40E5C4F}" dt="2021-02-07T21:08:04.152" v="2433" actId="1035"/>
          <ac:cxnSpMkLst>
            <pc:docMk/>
            <pc:sldMk cId="1094870920" sldId="1735"/>
            <ac:cxnSpMk id="49" creationId="{F03F52E1-9D12-4CD8-9AFB-DF3694F8E8DF}"/>
          </ac:cxnSpMkLst>
        </pc:cxnChg>
        <pc:cxnChg chg="mod">
          <ac:chgData name="Ajit Kotwal" userId="781b8ab5-6f9a-4511-aed5-b50cf9e67252" providerId="ADAL" clId="{27E91C08-3CA6-4129-AF6E-449EA40E5C4F}" dt="2021-02-07T21:08:04.152" v="2433" actId="1035"/>
          <ac:cxnSpMkLst>
            <pc:docMk/>
            <pc:sldMk cId="1094870920" sldId="1735"/>
            <ac:cxnSpMk id="52" creationId="{721FE680-81D2-484D-B86E-D8BCF74079FD}"/>
          </ac:cxnSpMkLst>
        </pc:cxnChg>
        <pc:cxnChg chg="mod">
          <ac:chgData name="Ajit Kotwal" userId="781b8ab5-6f9a-4511-aed5-b50cf9e67252" providerId="ADAL" clId="{27E91C08-3CA6-4129-AF6E-449EA40E5C4F}" dt="2021-02-07T21:09:10.872" v="2486" actId="1035"/>
          <ac:cxnSpMkLst>
            <pc:docMk/>
            <pc:sldMk cId="1094870920" sldId="1735"/>
            <ac:cxnSpMk id="53" creationId="{76FF7EC1-B2EB-4DC5-B055-C580BB6B5166}"/>
          </ac:cxnSpMkLst>
        </pc:cxnChg>
        <pc:cxnChg chg="add mod">
          <ac:chgData name="Ajit Kotwal" userId="781b8ab5-6f9a-4511-aed5-b50cf9e67252" providerId="ADAL" clId="{27E91C08-3CA6-4129-AF6E-449EA40E5C4F}" dt="2021-02-07T21:03:23.072" v="2137" actId="1076"/>
          <ac:cxnSpMkLst>
            <pc:docMk/>
            <pc:sldMk cId="1094870920" sldId="1735"/>
            <ac:cxnSpMk id="65" creationId="{566A09A1-5FB6-4FE4-B726-FEB8B2E47D53}"/>
          </ac:cxnSpMkLst>
        </pc:cxnChg>
        <pc:cxnChg chg="add mod">
          <ac:chgData name="Ajit Kotwal" userId="781b8ab5-6f9a-4511-aed5-b50cf9e67252" providerId="ADAL" clId="{27E91C08-3CA6-4129-AF6E-449EA40E5C4F}" dt="2021-02-07T21:08:04.152" v="2433" actId="1035"/>
          <ac:cxnSpMkLst>
            <pc:docMk/>
            <pc:sldMk cId="1094870920" sldId="1735"/>
            <ac:cxnSpMk id="98" creationId="{56B4E243-2A15-43FD-99D9-B710B21D3BB2}"/>
          </ac:cxnSpMkLst>
        </pc:cxnChg>
        <pc:cxnChg chg="del">
          <ac:chgData name="Ajit Kotwal" userId="781b8ab5-6f9a-4511-aed5-b50cf9e67252" providerId="ADAL" clId="{27E91C08-3CA6-4129-AF6E-449EA40E5C4F}" dt="2021-02-07T21:04:55.832" v="2223" actId="478"/>
          <ac:cxnSpMkLst>
            <pc:docMk/>
            <pc:sldMk cId="1094870920" sldId="1735"/>
            <ac:cxnSpMk id="105" creationId="{659FEA74-C3DC-4508-BE4F-3AF4CD4B39B4}"/>
          </ac:cxnSpMkLst>
        </pc:cxnChg>
        <pc:cxnChg chg="add mod">
          <ac:chgData name="Ajit Kotwal" userId="781b8ab5-6f9a-4511-aed5-b50cf9e67252" providerId="ADAL" clId="{27E91C08-3CA6-4129-AF6E-449EA40E5C4F}" dt="2021-02-07T21:07:40.060" v="2385" actId="1076"/>
          <ac:cxnSpMkLst>
            <pc:docMk/>
            <pc:sldMk cId="1094870920" sldId="1735"/>
            <ac:cxnSpMk id="115" creationId="{4FBEDC42-5A0E-49B4-B67B-3134FED54616}"/>
          </ac:cxnSpMkLst>
        </pc:cxnChg>
        <pc:cxnChg chg="add mod">
          <ac:chgData name="Ajit Kotwal" userId="781b8ab5-6f9a-4511-aed5-b50cf9e67252" providerId="ADAL" clId="{27E91C08-3CA6-4129-AF6E-449EA40E5C4F}" dt="2021-02-07T21:07:40.060" v="2385" actId="1076"/>
          <ac:cxnSpMkLst>
            <pc:docMk/>
            <pc:sldMk cId="1094870920" sldId="1735"/>
            <ac:cxnSpMk id="116" creationId="{01305CB6-6749-4B58-A3D3-83AB52CD6A5F}"/>
          </ac:cxnSpMkLst>
        </pc:cxnChg>
        <pc:cxnChg chg="add mod">
          <ac:chgData name="Ajit Kotwal" userId="781b8ab5-6f9a-4511-aed5-b50cf9e67252" providerId="ADAL" clId="{27E91C08-3CA6-4129-AF6E-449EA40E5C4F}" dt="2021-02-07T21:09:28.107" v="2488" actId="1076"/>
          <ac:cxnSpMkLst>
            <pc:docMk/>
            <pc:sldMk cId="1094870920" sldId="1735"/>
            <ac:cxnSpMk id="123" creationId="{713FD460-02CF-4F51-9F86-FBE610D83B91}"/>
          </ac:cxnSpMkLst>
        </pc:cxnChg>
        <pc:cxnChg chg="add mod">
          <ac:chgData name="Ajit Kotwal" userId="781b8ab5-6f9a-4511-aed5-b50cf9e67252" providerId="ADAL" clId="{27E91C08-3CA6-4129-AF6E-449EA40E5C4F}" dt="2021-02-07T21:09:28.107" v="2488" actId="1076"/>
          <ac:cxnSpMkLst>
            <pc:docMk/>
            <pc:sldMk cId="1094870920" sldId="1735"/>
            <ac:cxnSpMk id="124" creationId="{2DDEF6D8-BBC6-4296-B37A-0E31AA836319}"/>
          </ac:cxnSpMkLst>
        </pc:cxnChg>
      </pc:sldChg>
      <pc:sldChg chg="addSp">
        <pc:chgData name="Ajit Kotwal" userId="781b8ab5-6f9a-4511-aed5-b50cf9e67252" providerId="ADAL" clId="{27E91C08-3CA6-4129-AF6E-449EA40E5C4F}" dt="2021-02-07T17:34:30.379" v="1628"/>
        <pc:sldMkLst>
          <pc:docMk/>
          <pc:sldMk cId="2272377437" sldId="1735"/>
        </pc:sldMkLst>
        <pc:picChg chg="add">
          <ac:chgData name="Ajit Kotwal" userId="781b8ab5-6f9a-4511-aed5-b50cf9e67252" providerId="ADAL" clId="{27E91C08-3CA6-4129-AF6E-449EA40E5C4F}" dt="2021-02-07T17:34:30.379" v="1628"/>
          <ac:picMkLst>
            <pc:docMk/>
            <pc:sldMk cId="2272377437" sldId="1735"/>
            <ac:picMk id="1026" creationId="{90CEA6A0-2757-4F82-A96E-F02C81DE17CB}"/>
          </ac:picMkLst>
        </pc:picChg>
      </pc:sldChg>
      <pc:sldChg chg="addSp">
        <pc:chgData name="Ajit Kotwal" userId="781b8ab5-6f9a-4511-aed5-b50cf9e67252" providerId="ADAL" clId="{27E91C08-3CA6-4129-AF6E-449EA40E5C4F}" dt="2021-02-07T17:34:56.982" v="1631"/>
        <pc:sldMkLst>
          <pc:docMk/>
          <pc:sldMk cId="2967073707" sldId="1735"/>
        </pc:sldMkLst>
        <pc:picChg chg="add">
          <ac:chgData name="Ajit Kotwal" userId="781b8ab5-6f9a-4511-aed5-b50cf9e67252" providerId="ADAL" clId="{27E91C08-3CA6-4129-AF6E-449EA40E5C4F}" dt="2021-02-07T17:34:56.982" v="1631"/>
          <ac:picMkLst>
            <pc:docMk/>
            <pc:sldMk cId="2967073707" sldId="1735"/>
            <ac:picMk id="2050" creationId="{E5B1FB2D-D8BB-4F7B-BDC2-FAEAAEE4A3BF}"/>
          </ac:picMkLst>
        </pc:picChg>
      </pc:sldChg>
      <pc:sldChg chg="delSp modSp mod">
        <pc:chgData name="Ajit Kotwal" userId="781b8ab5-6f9a-4511-aed5-b50cf9e67252" providerId="ADAL" clId="{27E91C08-3CA6-4129-AF6E-449EA40E5C4F}" dt="2021-02-07T09:57:07.894" v="162" actId="20577"/>
        <pc:sldMkLst>
          <pc:docMk/>
          <pc:sldMk cId="2345068032" sldId="1786"/>
        </pc:sldMkLst>
        <pc:spChg chg="mod">
          <ac:chgData name="Ajit Kotwal" userId="781b8ab5-6f9a-4511-aed5-b50cf9e67252" providerId="ADAL" clId="{27E91C08-3CA6-4129-AF6E-449EA40E5C4F}" dt="2021-02-07T09:55:52.084" v="35" actId="6549"/>
          <ac:spMkLst>
            <pc:docMk/>
            <pc:sldMk cId="2345068032" sldId="1786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09:56:33.709" v="94" actId="20577"/>
          <ac:spMkLst>
            <pc:docMk/>
            <pc:sldMk cId="2345068032" sldId="1786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07T09:57:07.894" v="162" actId="20577"/>
          <ac:spMkLst>
            <pc:docMk/>
            <pc:sldMk cId="2345068032" sldId="1786"/>
            <ac:spMk id="15" creationId="{BDD64BFD-7ED9-4476-ABC3-6BBAC4A275B2}"/>
          </ac:spMkLst>
        </pc:spChg>
        <pc:spChg chg="del">
          <ac:chgData name="Ajit Kotwal" userId="781b8ab5-6f9a-4511-aed5-b50cf9e67252" providerId="ADAL" clId="{27E91C08-3CA6-4129-AF6E-449EA40E5C4F}" dt="2021-02-07T09:56:02.129" v="36" actId="478"/>
          <ac:spMkLst>
            <pc:docMk/>
            <pc:sldMk cId="2345068032" sldId="1786"/>
            <ac:spMk id="27" creationId="{23A63D8C-A2A6-4D29-BE0C-940A4A5FC1E8}"/>
          </ac:spMkLst>
        </pc:spChg>
        <pc:grpChg chg="del">
          <ac:chgData name="Ajit Kotwal" userId="781b8ab5-6f9a-4511-aed5-b50cf9e67252" providerId="ADAL" clId="{27E91C08-3CA6-4129-AF6E-449EA40E5C4F}" dt="2021-02-07T09:56:02.129" v="36" actId="478"/>
          <ac:grpSpMkLst>
            <pc:docMk/>
            <pc:sldMk cId="2345068032" sldId="1786"/>
            <ac:grpSpMk id="22" creationId="{E7AAE775-4DA6-4987-863A-6C8999E1BAB8}"/>
          </ac:grpSpMkLst>
        </pc:grpChg>
        <pc:cxnChg chg="del">
          <ac:chgData name="Ajit Kotwal" userId="781b8ab5-6f9a-4511-aed5-b50cf9e67252" providerId="ADAL" clId="{27E91C08-3CA6-4129-AF6E-449EA40E5C4F}" dt="2021-02-07T09:56:02.129" v="36" actId="478"/>
          <ac:cxnSpMkLst>
            <pc:docMk/>
            <pc:sldMk cId="2345068032" sldId="1786"/>
            <ac:cxnSpMk id="10" creationId="{F2B453E7-1664-4B78-9B81-762FE2377F46}"/>
          </ac:cxnSpMkLst>
        </pc:cxnChg>
      </pc:sldChg>
      <pc:sldChg chg="del">
        <pc:chgData name="Ajit Kotwal" userId="781b8ab5-6f9a-4511-aed5-b50cf9e67252" providerId="ADAL" clId="{27E91C08-3CA6-4129-AF6E-449EA40E5C4F}" dt="2021-02-08T18:28:03.617" v="2554" actId="47"/>
        <pc:sldMkLst>
          <pc:docMk/>
          <pc:sldMk cId="3071064459" sldId="1795"/>
        </pc:sldMkLst>
      </pc:sldChg>
      <pc:sldChg chg="modSp mod">
        <pc:chgData name="Ajit Kotwal" userId="781b8ab5-6f9a-4511-aed5-b50cf9e67252" providerId="ADAL" clId="{27E91C08-3CA6-4129-AF6E-449EA40E5C4F}" dt="2021-02-07T21:08:35.113" v="2459" actId="20577"/>
        <pc:sldMkLst>
          <pc:docMk/>
          <pc:sldMk cId="2633977528" sldId="1798"/>
        </pc:sldMkLst>
        <pc:spChg chg="mod">
          <ac:chgData name="Ajit Kotwal" userId="781b8ab5-6f9a-4511-aed5-b50cf9e67252" providerId="ADAL" clId="{27E91C08-3CA6-4129-AF6E-449EA40E5C4F}" dt="2021-02-07T21:08:35.113" v="2459" actId="20577"/>
          <ac:spMkLst>
            <pc:docMk/>
            <pc:sldMk cId="2633977528" sldId="1798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21:08:28.960" v="2440" actId="20577"/>
          <ac:spMkLst>
            <pc:docMk/>
            <pc:sldMk cId="2633977528" sldId="1798"/>
            <ac:spMk id="26" creationId="{3EE3908A-E7B2-4491-9919-73E1BE3FA993}"/>
          </ac:spMkLst>
        </pc:spChg>
      </pc:sldChg>
      <pc:sldChg chg="del mod modShow">
        <pc:chgData name="Ajit Kotwal" userId="781b8ab5-6f9a-4511-aed5-b50cf9e67252" providerId="ADAL" clId="{27E91C08-3CA6-4129-AF6E-449EA40E5C4F}" dt="2021-02-08T18:27:45.850" v="2551" actId="47"/>
        <pc:sldMkLst>
          <pc:docMk/>
          <pc:sldMk cId="2404984120" sldId="1801"/>
        </pc:sldMkLst>
      </pc:sldChg>
      <pc:sldChg chg="del mod modShow">
        <pc:chgData name="Ajit Kotwal" userId="781b8ab5-6f9a-4511-aed5-b50cf9e67252" providerId="ADAL" clId="{27E91C08-3CA6-4129-AF6E-449EA40E5C4F}" dt="2021-02-08T18:27:29.904" v="2537" actId="47"/>
        <pc:sldMkLst>
          <pc:docMk/>
          <pc:sldMk cId="2840498259" sldId="1802"/>
        </pc:sldMkLst>
      </pc:sldChg>
      <pc:sldChg chg="del mod modShow">
        <pc:chgData name="Ajit Kotwal" userId="781b8ab5-6f9a-4511-aed5-b50cf9e67252" providerId="ADAL" clId="{27E91C08-3CA6-4129-AF6E-449EA40E5C4F}" dt="2021-02-08T18:27:46.601" v="2552" actId="47"/>
        <pc:sldMkLst>
          <pc:docMk/>
          <pc:sldMk cId="3712031186" sldId="1803"/>
        </pc:sldMkLst>
      </pc:sldChg>
      <pc:sldChg chg="del mod modShow">
        <pc:chgData name="Ajit Kotwal" userId="781b8ab5-6f9a-4511-aed5-b50cf9e67252" providerId="ADAL" clId="{27E91C08-3CA6-4129-AF6E-449EA40E5C4F}" dt="2021-02-08T18:27:47.459" v="2553" actId="47"/>
        <pc:sldMkLst>
          <pc:docMk/>
          <pc:sldMk cId="439375703" sldId="1804"/>
        </pc:sldMkLst>
      </pc:sldChg>
      <pc:sldChg chg="modSp mod ord modCm">
        <pc:chgData name="Ajit Kotwal" userId="781b8ab5-6f9a-4511-aed5-b50cf9e67252" providerId="ADAL" clId="{27E91C08-3CA6-4129-AF6E-449EA40E5C4F}" dt="2021-02-14T18:28:48.569" v="8510"/>
        <pc:sldMkLst>
          <pc:docMk/>
          <pc:sldMk cId="2694433332" sldId="10224"/>
        </pc:sldMkLst>
        <pc:spChg chg="mod">
          <ac:chgData name="Ajit Kotwal" userId="781b8ab5-6f9a-4511-aed5-b50cf9e67252" providerId="ADAL" clId="{27E91C08-3CA6-4129-AF6E-449EA40E5C4F}" dt="2021-02-08T15:59:25.328" v="2529" actId="20577"/>
          <ac:spMkLst>
            <pc:docMk/>
            <pc:sldMk cId="2694433332" sldId="10224"/>
            <ac:spMk id="11" creationId="{76583F2C-13BC-4FA8-A9DE-F1F764C38F10}"/>
          </ac:spMkLst>
        </pc:spChg>
      </pc:sldChg>
      <pc:sldChg chg="del mod modShow">
        <pc:chgData name="Ajit Kotwal" userId="781b8ab5-6f9a-4511-aed5-b50cf9e67252" providerId="ADAL" clId="{27E91C08-3CA6-4129-AF6E-449EA40E5C4F}" dt="2021-02-08T18:27:30.749" v="2538" actId="47"/>
        <pc:sldMkLst>
          <pc:docMk/>
          <pc:sldMk cId="571974604" sldId="10225"/>
        </pc:sldMkLst>
      </pc:sldChg>
      <pc:sldChg chg="del mod modShow">
        <pc:chgData name="Ajit Kotwal" userId="781b8ab5-6f9a-4511-aed5-b50cf9e67252" providerId="ADAL" clId="{27E91C08-3CA6-4129-AF6E-449EA40E5C4F}" dt="2021-02-08T18:27:31.595" v="2539" actId="47"/>
        <pc:sldMkLst>
          <pc:docMk/>
          <pc:sldMk cId="1070235455" sldId="10226"/>
        </pc:sldMkLst>
      </pc:sldChg>
      <pc:sldChg chg="del mod modShow">
        <pc:chgData name="Ajit Kotwal" userId="781b8ab5-6f9a-4511-aed5-b50cf9e67252" providerId="ADAL" clId="{27E91C08-3CA6-4129-AF6E-449EA40E5C4F}" dt="2021-02-08T18:27:32.403" v="2540" actId="47"/>
        <pc:sldMkLst>
          <pc:docMk/>
          <pc:sldMk cId="2034386096" sldId="10227"/>
        </pc:sldMkLst>
      </pc:sldChg>
      <pc:sldChg chg="del mod modShow">
        <pc:chgData name="Ajit Kotwal" userId="781b8ab5-6f9a-4511-aed5-b50cf9e67252" providerId="ADAL" clId="{27E91C08-3CA6-4129-AF6E-449EA40E5C4F}" dt="2021-02-08T18:27:33.039" v="2541" actId="47"/>
        <pc:sldMkLst>
          <pc:docMk/>
          <pc:sldMk cId="1023467697" sldId="10228"/>
        </pc:sldMkLst>
      </pc:sldChg>
      <pc:sldChg chg="del mod modShow">
        <pc:chgData name="Ajit Kotwal" userId="781b8ab5-6f9a-4511-aed5-b50cf9e67252" providerId="ADAL" clId="{27E91C08-3CA6-4129-AF6E-449EA40E5C4F}" dt="2021-02-08T18:27:33.794" v="2542" actId="47"/>
        <pc:sldMkLst>
          <pc:docMk/>
          <pc:sldMk cId="529050805" sldId="10229"/>
        </pc:sldMkLst>
      </pc:sldChg>
      <pc:sldChg chg="del mod modShow">
        <pc:chgData name="Ajit Kotwal" userId="781b8ab5-6f9a-4511-aed5-b50cf9e67252" providerId="ADAL" clId="{27E91C08-3CA6-4129-AF6E-449EA40E5C4F}" dt="2021-02-08T18:27:35.170" v="2543" actId="47"/>
        <pc:sldMkLst>
          <pc:docMk/>
          <pc:sldMk cId="2728073195" sldId="10230"/>
        </pc:sldMkLst>
      </pc:sldChg>
      <pc:sldChg chg="del mod modShow">
        <pc:chgData name="Ajit Kotwal" userId="781b8ab5-6f9a-4511-aed5-b50cf9e67252" providerId="ADAL" clId="{27E91C08-3CA6-4129-AF6E-449EA40E5C4F}" dt="2021-02-08T18:27:35.933" v="2544" actId="47"/>
        <pc:sldMkLst>
          <pc:docMk/>
          <pc:sldMk cId="2277809161" sldId="10231"/>
        </pc:sldMkLst>
      </pc:sldChg>
      <pc:sldChg chg="del mod modShow">
        <pc:chgData name="Ajit Kotwal" userId="781b8ab5-6f9a-4511-aed5-b50cf9e67252" providerId="ADAL" clId="{27E91C08-3CA6-4129-AF6E-449EA40E5C4F}" dt="2021-02-08T18:27:36.663" v="2545" actId="47"/>
        <pc:sldMkLst>
          <pc:docMk/>
          <pc:sldMk cId="2937396061" sldId="10232"/>
        </pc:sldMkLst>
      </pc:sldChg>
      <pc:sldChg chg="del mod modShow">
        <pc:chgData name="Ajit Kotwal" userId="781b8ab5-6f9a-4511-aed5-b50cf9e67252" providerId="ADAL" clId="{27E91C08-3CA6-4129-AF6E-449EA40E5C4F}" dt="2021-02-08T18:27:37.433" v="2546" actId="47"/>
        <pc:sldMkLst>
          <pc:docMk/>
          <pc:sldMk cId="3122366589" sldId="10233"/>
        </pc:sldMkLst>
      </pc:sldChg>
      <pc:sldChg chg="del mod modShow">
        <pc:chgData name="Ajit Kotwal" userId="781b8ab5-6f9a-4511-aed5-b50cf9e67252" providerId="ADAL" clId="{27E91C08-3CA6-4129-AF6E-449EA40E5C4F}" dt="2021-02-08T18:27:38.313" v="2547" actId="47"/>
        <pc:sldMkLst>
          <pc:docMk/>
          <pc:sldMk cId="2645965190" sldId="10234"/>
        </pc:sldMkLst>
      </pc:sldChg>
      <pc:sldChg chg="del mod modShow">
        <pc:chgData name="Ajit Kotwal" userId="781b8ab5-6f9a-4511-aed5-b50cf9e67252" providerId="ADAL" clId="{27E91C08-3CA6-4129-AF6E-449EA40E5C4F}" dt="2021-02-08T18:27:39.362" v="2548" actId="47"/>
        <pc:sldMkLst>
          <pc:docMk/>
          <pc:sldMk cId="95892485" sldId="10235"/>
        </pc:sldMkLst>
      </pc:sldChg>
      <pc:sldChg chg="del mod modShow">
        <pc:chgData name="Ajit Kotwal" userId="781b8ab5-6f9a-4511-aed5-b50cf9e67252" providerId="ADAL" clId="{27E91C08-3CA6-4129-AF6E-449EA40E5C4F}" dt="2021-02-08T18:27:40.333" v="2549" actId="47"/>
        <pc:sldMkLst>
          <pc:docMk/>
          <pc:sldMk cId="3044422181" sldId="10236"/>
        </pc:sldMkLst>
      </pc:sldChg>
      <pc:sldChg chg="del mod modShow">
        <pc:chgData name="Ajit Kotwal" userId="781b8ab5-6f9a-4511-aed5-b50cf9e67252" providerId="ADAL" clId="{27E91C08-3CA6-4129-AF6E-449EA40E5C4F}" dt="2021-02-08T18:27:42.957" v="2550" actId="47"/>
        <pc:sldMkLst>
          <pc:docMk/>
          <pc:sldMk cId="832180747" sldId="10237"/>
        </pc:sldMkLst>
      </pc:sldChg>
      <pc:sldChg chg="modSp mod ord modCm">
        <pc:chgData name="Ajit Kotwal" userId="781b8ab5-6f9a-4511-aed5-b50cf9e67252" providerId="ADAL" clId="{27E91C08-3CA6-4129-AF6E-449EA40E5C4F}" dt="2021-02-14T18:28:10.510" v="8509"/>
        <pc:sldMkLst>
          <pc:docMk/>
          <pc:sldMk cId="3869426496" sldId="10238"/>
        </pc:sldMkLst>
        <pc:spChg chg="mod">
          <ac:chgData name="Ajit Kotwal" userId="781b8ab5-6f9a-4511-aed5-b50cf9e67252" providerId="ADAL" clId="{27E91C08-3CA6-4129-AF6E-449EA40E5C4F}" dt="2021-02-08T15:58:00.453" v="2509" actId="20577"/>
          <ac:spMkLst>
            <pc:docMk/>
            <pc:sldMk cId="3869426496" sldId="10238"/>
            <ac:spMk id="2" creationId="{45010FE8-BF09-4146-B084-66CB05B66FD9}"/>
          </ac:spMkLst>
        </pc:spChg>
      </pc:sldChg>
      <pc:sldChg chg="modSp mod">
        <pc:chgData name="Ajit Kotwal" userId="781b8ab5-6f9a-4511-aed5-b50cf9e67252" providerId="ADAL" clId="{27E91C08-3CA6-4129-AF6E-449EA40E5C4F}" dt="2021-02-07T15:40:55.913" v="1161" actId="13926"/>
        <pc:sldMkLst>
          <pc:docMk/>
          <pc:sldMk cId="1764450474" sldId="10239"/>
        </pc:sldMkLst>
        <pc:spChg chg="mod">
          <ac:chgData name="Ajit Kotwal" userId="781b8ab5-6f9a-4511-aed5-b50cf9e67252" providerId="ADAL" clId="{27E91C08-3CA6-4129-AF6E-449EA40E5C4F}" dt="2021-02-07T15:38:27.905" v="1085" actId="20577"/>
          <ac:spMkLst>
            <pc:docMk/>
            <pc:sldMk cId="1764450474" sldId="10239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15:40:55.913" v="1161" actId="13926"/>
          <ac:spMkLst>
            <pc:docMk/>
            <pc:sldMk cId="1764450474" sldId="10239"/>
            <ac:spMk id="35" creationId="{82583F54-FD2D-4CF8-9F12-0C897B1000EF}"/>
          </ac:spMkLst>
        </pc:spChg>
        <pc:spChg chg="mod">
          <ac:chgData name="Ajit Kotwal" userId="781b8ab5-6f9a-4511-aed5-b50cf9e67252" providerId="ADAL" clId="{27E91C08-3CA6-4129-AF6E-449EA40E5C4F}" dt="2021-02-07T15:40:07.375" v="1159" actId="13926"/>
          <ac:spMkLst>
            <pc:docMk/>
            <pc:sldMk cId="1764450474" sldId="10239"/>
            <ac:spMk id="39" creationId="{4D6FC085-C053-4D1E-8598-BF7A1B956072}"/>
          </ac:spMkLst>
        </pc:spChg>
        <pc:spChg chg="mod">
          <ac:chgData name="Ajit Kotwal" userId="781b8ab5-6f9a-4511-aed5-b50cf9e67252" providerId="ADAL" clId="{27E91C08-3CA6-4129-AF6E-449EA40E5C4F}" dt="2021-02-07T15:40:15.596" v="1160" actId="13926"/>
          <ac:spMkLst>
            <pc:docMk/>
            <pc:sldMk cId="1764450474" sldId="10239"/>
            <ac:spMk id="43" creationId="{8D779325-EE33-4684-A270-CAC2DCE65BA6}"/>
          </ac:spMkLst>
        </pc:spChg>
        <pc:spChg chg="mod">
          <ac:chgData name="Ajit Kotwal" userId="781b8ab5-6f9a-4511-aed5-b50cf9e67252" providerId="ADAL" clId="{27E91C08-3CA6-4129-AF6E-449EA40E5C4F}" dt="2021-02-07T15:39:37.031" v="1124" actId="6549"/>
          <ac:spMkLst>
            <pc:docMk/>
            <pc:sldMk cId="1764450474" sldId="10239"/>
            <ac:spMk id="50" creationId="{899A069E-8A45-412F-AD95-9171B760F465}"/>
          </ac:spMkLst>
        </pc:spChg>
        <pc:spChg chg="mod">
          <ac:chgData name="Ajit Kotwal" userId="781b8ab5-6f9a-4511-aed5-b50cf9e67252" providerId="ADAL" clId="{27E91C08-3CA6-4129-AF6E-449EA40E5C4F}" dt="2021-02-07T15:40:01.628" v="1158" actId="6549"/>
          <ac:spMkLst>
            <pc:docMk/>
            <pc:sldMk cId="1764450474" sldId="10239"/>
            <ac:spMk id="51" creationId="{B15689F8-F6E3-4453-833B-0D8CBBBA5F35}"/>
          </ac:spMkLst>
        </pc:spChg>
      </pc:sldChg>
      <pc:sldChg chg="del mod modShow">
        <pc:chgData name="Ajit Kotwal" userId="781b8ab5-6f9a-4511-aed5-b50cf9e67252" providerId="ADAL" clId="{27E91C08-3CA6-4129-AF6E-449EA40E5C4F}" dt="2021-02-08T18:27:25.799" v="2534" actId="47"/>
        <pc:sldMkLst>
          <pc:docMk/>
          <pc:sldMk cId="1915014439" sldId="10240"/>
        </pc:sldMkLst>
      </pc:sldChg>
      <pc:sldChg chg="del mod modShow">
        <pc:chgData name="Ajit Kotwal" userId="781b8ab5-6f9a-4511-aed5-b50cf9e67252" providerId="ADAL" clId="{27E91C08-3CA6-4129-AF6E-449EA40E5C4F}" dt="2021-02-08T18:27:27.186" v="2535" actId="47"/>
        <pc:sldMkLst>
          <pc:docMk/>
          <pc:sldMk cId="3230079221" sldId="10241"/>
        </pc:sldMkLst>
      </pc:sldChg>
      <pc:sldChg chg="del mod modShow">
        <pc:chgData name="Ajit Kotwal" userId="781b8ab5-6f9a-4511-aed5-b50cf9e67252" providerId="ADAL" clId="{27E91C08-3CA6-4129-AF6E-449EA40E5C4F}" dt="2021-02-08T18:27:28.312" v="2536" actId="47"/>
        <pc:sldMkLst>
          <pc:docMk/>
          <pc:sldMk cId="1758469215" sldId="10242"/>
        </pc:sldMkLst>
      </pc:sldChg>
      <pc:sldChg chg="modSp add mod modCm">
        <pc:chgData name="Ajit Kotwal" userId="781b8ab5-6f9a-4511-aed5-b50cf9e67252" providerId="ADAL" clId="{27E91C08-3CA6-4129-AF6E-449EA40E5C4F}" dt="2021-02-08T15:55:40.511" v="2497"/>
        <pc:sldMkLst>
          <pc:docMk/>
          <pc:sldMk cId="1247591511" sldId="10243"/>
        </pc:sldMkLst>
        <pc:spChg chg="mod">
          <ac:chgData name="Ajit Kotwal" userId="781b8ab5-6f9a-4511-aed5-b50cf9e67252" providerId="ADAL" clId="{27E91C08-3CA6-4129-AF6E-449EA40E5C4F}" dt="2021-02-07T10:03:34.259" v="183" actId="20577"/>
          <ac:spMkLst>
            <pc:docMk/>
            <pc:sldMk cId="1247591511" sldId="10243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10:03:56.260" v="229" actId="20577"/>
          <ac:spMkLst>
            <pc:docMk/>
            <pc:sldMk cId="1247591511" sldId="10243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07T10:04:08.826" v="230" actId="20577"/>
          <ac:spMkLst>
            <pc:docMk/>
            <pc:sldMk cId="1247591511" sldId="10243"/>
            <ac:spMk id="15" creationId="{BDD64BFD-7ED9-4476-ABC3-6BBAC4A275B2}"/>
          </ac:spMkLst>
        </pc:spChg>
      </pc:sldChg>
      <pc:sldChg chg="addSp delSp modSp add mod modCm">
        <pc:chgData name="Ajit Kotwal" userId="781b8ab5-6f9a-4511-aed5-b50cf9e67252" providerId="ADAL" clId="{27E91C08-3CA6-4129-AF6E-449EA40E5C4F}" dt="2021-02-14T18:27:10.004" v="8508" actId="20577"/>
        <pc:sldMkLst>
          <pc:docMk/>
          <pc:sldMk cId="2495781146" sldId="10244"/>
        </pc:sldMkLst>
        <pc:spChg chg="mod">
          <ac:chgData name="Ajit Kotwal" userId="781b8ab5-6f9a-4511-aed5-b50cf9e67252" providerId="ADAL" clId="{27E91C08-3CA6-4129-AF6E-449EA40E5C4F}" dt="2021-02-07T10:04:39.929" v="252" actId="20577"/>
          <ac:spMkLst>
            <pc:docMk/>
            <pc:sldMk cId="2495781146" sldId="10244"/>
            <ac:spMk id="9" creationId="{5F10B7DA-EBAD-49D8-8636-A3336D68F659}"/>
          </ac:spMkLst>
        </pc:spChg>
        <pc:spChg chg="mod">
          <ac:chgData name="Ajit Kotwal" userId="781b8ab5-6f9a-4511-aed5-b50cf9e67252" providerId="ADAL" clId="{27E91C08-3CA6-4129-AF6E-449EA40E5C4F}" dt="2021-02-14T18:27:10.004" v="8508" actId="20577"/>
          <ac:spMkLst>
            <pc:docMk/>
            <pc:sldMk cId="2495781146" sldId="10244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07T12:45:33.924" v="270" actId="14100"/>
          <ac:spMkLst>
            <pc:docMk/>
            <pc:sldMk cId="2495781146" sldId="10244"/>
            <ac:spMk id="15" creationId="{BDD64BFD-7ED9-4476-ABC3-6BBAC4A275B2}"/>
          </ac:spMkLst>
        </pc:spChg>
        <pc:spChg chg="del">
          <ac:chgData name="Ajit Kotwal" userId="781b8ab5-6f9a-4511-aed5-b50cf9e67252" providerId="ADAL" clId="{27E91C08-3CA6-4129-AF6E-449EA40E5C4F}" dt="2021-02-07T12:45:26.899" v="269" actId="478"/>
          <ac:spMkLst>
            <pc:docMk/>
            <pc:sldMk cId="2495781146" sldId="10244"/>
            <ac:spMk id="27" creationId="{23A63D8C-A2A6-4D29-BE0C-940A4A5FC1E8}"/>
          </ac:spMkLst>
        </pc:spChg>
        <pc:grpChg chg="del">
          <ac:chgData name="Ajit Kotwal" userId="781b8ab5-6f9a-4511-aed5-b50cf9e67252" providerId="ADAL" clId="{27E91C08-3CA6-4129-AF6E-449EA40E5C4F}" dt="2021-02-07T12:45:26.899" v="269" actId="478"/>
          <ac:grpSpMkLst>
            <pc:docMk/>
            <pc:sldMk cId="2495781146" sldId="10244"/>
            <ac:grpSpMk id="22" creationId="{E7AAE775-4DA6-4987-863A-6C8999E1BAB8}"/>
          </ac:grpSpMkLst>
        </pc:grpChg>
        <pc:picChg chg="add del mod">
          <ac:chgData name="Ajit Kotwal" userId="781b8ab5-6f9a-4511-aed5-b50cf9e67252" providerId="ADAL" clId="{27E91C08-3CA6-4129-AF6E-449EA40E5C4F}" dt="2021-02-07T10:07:59.552" v="259" actId="478"/>
          <ac:picMkLst>
            <pc:docMk/>
            <pc:sldMk cId="2495781146" sldId="10244"/>
            <ac:picMk id="5" creationId="{9D69A275-96F5-4DB8-B03A-0A1A7EE6DFE7}"/>
          </ac:picMkLst>
        </pc:picChg>
        <pc:picChg chg="add del mod">
          <ac:chgData name="Ajit Kotwal" userId="781b8ab5-6f9a-4511-aed5-b50cf9e67252" providerId="ADAL" clId="{27E91C08-3CA6-4129-AF6E-449EA40E5C4F}" dt="2021-02-07T12:44:47.149" v="265" actId="478"/>
          <ac:picMkLst>
            <pc:docMk/>
            <pc:sldMk cId="2495781146" sldId="10244"/>
            <ac:picMk id="7" creationId="{A4742A51-B9AE-4921-B91F-F65C4E356F76}"/>
          </ac:picMkLst>
        </pc:picChg>
        <pc:picChg chg="add del mod">
          <ac:chgData name="Ajit Kotwal" userId="781b8ab5-6f9a-4511-aed5-b50cf9e67252" providerId="ADAL" clId="{27E91C08-3CA6-4129-AF6E-449EA40E5C4F}" dt="2021-02-07T12:49:35.747" v="273" actId="478"/>
          <ac:picMkLst>
            <pc:docMk/>
            <pc:sldMk cId="2495781146" sldId="10244"/>
            <ac:picMk id="16" creationId="{CF5D822D-9334-41C0-BB68-76E567F1EFDE}"/>
          </ac:picMkLst>
        </pc:picChg>
        <pc:picChg chg="add del mod">
          <ac:chgData name="Ajit Kotwal" userId="781b8ab5-6f9a-4511-aed5-b50cf9e67252" providerId="ADAL" clId="{27E91C08-3CA6-4129-AF6E-449EA40E5C4F}" dt="2021-02-07T12:51:35.741" v="278" actId="478"/>
          <ac:picMkLst>
            <pc:docMk/>
            <pc:sldMk cId="2495781146" sldId="10244"/>
            <ac:picMk id="18" creationId="{94397B49-4B21-40AC-8C86-D5285149377F}"/>
          </ac:picMkLst>
        </pc:picChg>
        <pc:picChg chg="add mod">
          <ac:chgData name="Ajit Kotwal" userId="781b8ab5-6f9a-4511-aed5-b50cf9e67252" providerId="ADAL" clId="{27E91C08-3CA6-4129-AF6E-449EA40E5C4F}" dt="2021-02-07T12:51:53.090" v="283" actId="14100"/>
          <ac:picMkLst>
            <pc:docMk/>
            <pc:sldMk cId="2495781146" sldId="10244"/>
            <ac:picMk id="20" creationId="{B28CF6E5-11A5-4568-8621-C0E2C870D390}"/>
          </ac:picMkLst>
        </pc:picChg>
        <pc:cxnChg chg="del">
          <ac:chgData name="Ajit Kotwal" userId="781b8ab5-6f9a-4511-aed5-b50cf9e67252" providerId="ADAL" clId="{27E91C08-3CA6-4129-AF6E-449EA40E5C4F}" dt="2021-02-07T12:45:26.899" v="269" actId="478"/>
          <ac:cxnSpMkLst>
            <pc:docMk/>
            <pc:sldMk cId="2495781146" sldId="10244"/>
            <ac:cxnSpMk id="10" creationId="{F2B453E7-1664-4B78-9B81-762FE2377F46}"/>
          </ac:cxnSpMkLst>
        </pc:cxnChg>
      </pc:sldChg>
      <pc:sldChg chg="modSp add del mod">
        <pc:chgData name="Ajit Kotwal" userId="781b8ab5-6f9a-4511-aed5-b50cf9e67252" providerId="ADAL" clId="{27E91C08-3CA6-4129-AF6E-449EA40E5C4F}" dt="2021-02-07T15:25:19.765" v="1066" actId="47"/>
        <pc:sldMkLst>
          <pc:docMk/>
          <pc:sldMk cId="3930321242" sldId="10245"/>
        </pc:sldMkLst>
        <pc:spChg chg="mod">
          <ac:chgData name="Ajit Kotwal" userId="781b8ab5-6f9a-4511-aed5-b50cf9e67252" providerId="ADAL" clId="{27E91C08-3CA6-4129-AF6E-449EA40E5C4F}" dt="2021-02-07T15:16:34.568" v="784" actId="20577"/>
          <ac:spMkLst>
            <pc:docMk/>
            <pc:sldMk cId="3930321242" sldId="10245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15:17:18.235" v="876" actId="20577"/>
          <ac:spMkLst>
            <pc:docMk/>
            <pc:sldMk cId="3930321242" sldId="10245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07T15:19:25.024" v="1059" actId="20577"/>
          <ac:spMkLst>
            <pc:docMk/>
            <pc:sldMk cId="3930321242" sldId="10245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08T18:47:35.448" v="2824"/>
        <pc:sldMkLst>
          <pc:docMk/>
          <pc:sldMk cId="1467403973" sldId="10246"/>
        </pc:sldMkLst>
        <pc:spChg chg="mod">
          <ac:chgData name="Ajit Kotwal" userId="781b8ab5-6f9a-4511-aed5-b50cf9e67252" providerId="ADAL" clId="{27E91C08-3CA6-4129-AF6E-449EA40E5C4F}" dt="2021-02-08T18:47:35.448" v="2824"/>
          <ac:spMkLst>
            <pc:docMk/>
            <pc:sldMk cId="1467403973" sldId="10246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20:36:12.667" v="1789"/>
          <ac:spMkLst>
            <pc:docMk/>
            <pc:sldMk cId="1467403973" sldId="10246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07T21:00:12.944" v="1995" actId="6549"/>
          <ac:spMkLst>
            <pc:docMk/>
            <pc:sldMk cId="1467403973" sldId="10246"/>
            <ac:spMk id="15" creationId="{BDD64BFD-7ED9-4476-ABC3-6BBAC4A275B2}"/>
          </ac:spMkLst>
        </pc:spChg>
      </pc:sldChg>
      <pc:sldChg chg="addSp delSp modSp add mod">
        <pc:chgData name="Ajit Kotwal" userId="781b8ab5-6f9a-4511-aed5-b50cf9e67252" providerId="ADAL" clId="{27E91C08-3CA6-4129-AF6E-449EA40E5C4F}" dt="2021-02-14T11:07:40.215" v="8361" actId="1038"/>
        <pc:sldMkLst>
          <pc:docMk/>
          <pc:sldMk cId="1090235674" sldId="10247"/>
        </pc:sldMkLst>
        <pc:spChg chg="mod">
          <ac:chgData name="Ajit Kotwal" userId="781b8ab5-6f9a-4511-aed5-b50cf9e67252" providerId="ADAL" clId="{27E91C08-3CA6-4129-AF6E-449EA40E5C4F}" dt="2021-02-08T18:47:03.818" v="2823" actId="20577"/>
          <ac:spMkLst>
            <pc:docMk/>
            <pc:sldMk cId="1090235674" sldId="10247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14:17:50.611" v="635" actId="6549"/>
          <ac:spMkLst>
            <pc:docMk/>
            <pc:sldMk cId="1090235674" sldId="10247"/>
            <ac:spMk id="9" creationId="{5F10B7DA-EBAD-49D8-8636-A3336D68F659}"/>
          </ac:spMkLst>
        </pc:spChg>
        <pc:spChg chg="mod">
          <ac:chgData name="Ajit Kotwal" userId="781b8ab5-6f9a-4511-aed5-b50cf9e67252" providerId="ADAL" clId="{27E91C08-3CA6-4129-AF6E-449EA40E5C4F}" dt="2021-02-07T15:05:01.607" v="716" actId="20577"/>
          <ac:spMkLst>
            <pc:docMk/>
            <pc:sldMk cId="1090235674" sldId="10247"/>
            <ac:spMk id="11" creationId="{76583F2C-13BC-4FA8-A9DE-F1F764C38F10}"/>
          </ac:spMkLst>
        </pc:spChg>
        <pc:spChg chg="del mod">
          <ac:chgData name="Ajit Kotwal" userId="781b8ab5-6f9a-4511-aed5-b50cf9e67252" providerId="ADAL" clId="{27E91C08-3CA6-4129-AF6E-449EA40E5C4F}" dt="2021-02-07T14:52:48.014" v="662" actId="478"/>
          <ac:spMkLst>
            <pc:docMk/>
            <pc:sldMk cId="1090235674" sldId="10247"/>
            <ac:spMk id="15" creationId="{BDD64BFD-7ED9-4476-ABC3-6BBAC4A275B2}"/>
          </ac:spMkLst>
        </pc:spChg>
        <pc:picChg chg="add del mod">
          <ac:chgData name="Ajit Kotwal" userId="781b8ab5-6f9a-4511-aed5-b50cf9e67252" providerId="ADAL" clId="{27E91C08-3CA6-4129-AF6E-449EA40E5C4F}" dt="2021-02-07T14:50:05.198" v="647" actId="478"/>
          <ac:picMkLst>
            <pc:docMk/>
            <pc:sldMk cId="1090235674" sldId="10247"/>
            <ac:picMk id="5" creationId="{77CFD01B-4ED6-4B6F-8A2C-80D53C4EAE5D}"/>
          </ac:picMkLst>
        </pc:picChg>
        <pc:picChg chg="add del mod">
          <ac:chgData name="Ajit Kotwal" userId="781b8ab5-6f9a-4511-aed5-b50cf9e67252" providerId="ADAL" clId="{27E91C08-3CA6-4129-AF6E-449EA40E5C4F}" dt="2021-02-07T14:51:48.337" v="654" actId="478"/>
          <ac:picMkLst>
            <pc:docMk/>
            <pc:sldMk cId="1090235674" sldId="10247"/>
            <ac:picMk id="7" creationId="{1381EC97-E9E5-48DD-9DC5-CF28149909E7}"/>
          </ac:picMkLst>
        </pc:picChg>
        <pc:picChg chg="add del mod">
          <ac:chgData name="Ajit Kotwal" userId="781b8ab5-6f9a-4511-aed5-b50cf9e67252" providerId="ADAL" clId="{27E91C08-3CA6-4129-AF6E-449EA40E5C4F}" dt="2021-02-07T15:03:02.544" v="665" actId="478"/>
          <ac:picMkLst>
            <pc:docMk/>
            <pc:sldMk cId="1090235674" sldId="10247"/>
            <ac:picMk id="16" creationId="{EA40C9E0-F5AC-493F-8F4F-0BD1D5FA1917}"/>
          </ac:picMkLst>
        </pc:picChg>
        <pc:picChg chg="add del mod">
          <ac:chgData name="Ajit Kotwal" userId="781b8ab5-6f9a-4511-aed5-b50cf9e67252" providerId="ADAL" clId="{27E91C08-3CA6-4129-AF6E-449EA40E5C4F}" dt="2021-02-07T15:03:04.560" v="666" actId="478"/>
          <ac:picMkLst>
            <pc:docMk/>
            <pc:sldMk cId="1090235674" sldId="10247"/>
            <ac:picMk id="18" creationId="{50ADF23A-991C-4195-BF6C-AA565E065637}"/>
          </ac:picMkLst>
        </pc:picChg>
        <pc:picChg chg="add del mod">
          <ac:chgData name="Ajit Kotwal" userId="781b8ab5-6f9a-4511-aed5-b50cf9e67252" providerId="ADAL" clId="{27E91C08-3CA6-4129-AF6E-449EA40E5C4F}" dt="2021-02-07T15:03:59.999" v="671" actId="478"/>
          <ac:picMkLst>
            <pc:docMk/>
            <pc:sldMk cId="1090235674" sldId="10247"/>
            <ac:picMk id="20" creationId="{AB15DC19-9C57-430B-9ABD-18D57F325549}"/>
          </ac:picMkLst>
        </pc:picChg>
        <pc:picChg chg="add del mod">
          <ac:chgData name="Ajit Kotwal" userId="781b8ab5-6f9a-4511-aed5-b50cf9e67252" providerId="ADAL" clId="{27E91C08-3CA6-4129-AF6E-449EA40E5C4F}" dt="2021-02-07T15:12:46.126" v="718" actId="478"/>
          <ac:picMkLst>
            <pc:docMk/>
            <pc:sldMk cId="1090235674" sldId="10247"/>
            <ac:picMk id="22" creationId="{004263B3-232C-45B4-80AD-A5AA0EE16DCE}"/>
          </ac:picMkLst>
        </pc:picChg>
        <pc:picChg chg="add mod">
          <ac:chgData name="Ajit Kotwal" userId="781b8ab5-6f9a-4511-aed5-b50cf9e67252" providerId="ADAL" clId="{27E91C08-3CA6-4129-AF6E-449EA40E5C4F}" dt="2021-02-14T11:07:40.215" v="8361" actId="1038"/>
          <ac:picMkLst>
            <pc:docMk/>
            <pc:sldMk cId="1090235674" sldId="10247"/>
            <ac:picMk id="24" creationId="{B4A20AE3-0C1D-4EFD-A32A-C5D48C939811}"/>
          </ac:picMkLst>
        </pc:picChg>
      </pc:sldChg>
      <pc:sldChg chg="modSp add del mod">
        <pc:chgData name="Ajit Kotwal" userId="781b8ab5-6f9a-4511-aed5-b50cf9e67252" providerId="ADAL" clId="{27E91C08-3CA6-4129-AF6E-449EA40E5C4F}" dt="2021-02-07T15:41:19.010" v="1162" actId="47"/>
        <pc:sldMkLst>
          <pc:docMk/>
          <pc:sldMk cId="1679225427" sldId="10248"/>
        </pc:sldMkLst>
        <pc:spChg chg="mod">
          <ac:chgData name="Ajit Kotwal" userId="781b8ab5-6f9a-4511-aed5-b50cf9e67252" providerId="ADAL" clId="{27E91C08-3CA6-4129-AF6E-449EA40E5C4F}" dt="2021-02-07T15:38:41.518" v="1089" actId="20577"/>
          <ac:spMkLst>
            <pc:docMk/>
            <pc:sldMk cId="1679225427" sldId="10248"/>
            <ac:spMk id="2" creationId="{45010FE8-BF09-4146-B084-66CB05B66FD9}"/>
          </ac:spMkLst>
        </pc:spChg>
      </pc:sldChg>
      <pc:sldChg chg="add del">
        <pc:chgData name="Ajit Kotwal" userId="781b8ab5-6f9a-4511-aed5-b50cf9e67252" providerId="ADAL" clId="{27E91C08-3CA6-4129-AF6E-449EA40E5C4F}" dt="2021-02-07T15:06:33.075" v="717" actId="47"/>
        <pc:sldMkLst>
          <pc:docMk/>
          <pc:sldMk cId="2081521887" sldId="10248"/>
        </pc:sldMkLst>
      </pc:sldChg>
      <pc:sldChg chg="delSp modSp add mod">
        <pc:chgData name="Ajit Kotwal" userId="781b8ab5-6f9a-4511-aed5-b50cf9e67252" providerId="ADAL" clId="{27E91C08-3CA6-4129-AF6E-449EA40E5C4F}" dt="2021-02-07T15:48:33.934" v="1481" actId="20577"/>
        <pc:sldMkLst>
          <pc:docMk/>
          <pc:sldMk cId="3655946138" sldId="10248"/>
        </pc:sldMkLst>
        <pc:spChg chg="mod">
          <ac:chgData name="Ajit Kotwal" userId="781b8ab5-6f9a-4511-aed5-b50cf9e67252" providerId="ADAL" clId="{27E91C08-3CA6-4129-AF6E-449EA40E5C4F}" dt="2021-02-07T15:41:30.084" v="1166" actId="20577"/>
          <ac:spMkLst>
            <pc:docMk/>
            <pc:sldMk cId="3655946138" sldId="10248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07T15:45:00.837" v="1301" actId="20577"/>
          <ac:spMkLst>
            <pc:docMk/>
            <pc:sldMk cId="3655946138" sldId="10248"/>
            <ac:spMk id="31" creationId="{3D0C7387-BCC5-418B-BEB0-3A7022CB8768}"/>
          </ac:spMkLst>
        </pc:spChg>
        <pc:spChg chg="del">
          <ac:chgData name="Ajit Kotwal" userId="781b8ab5-6f9a-4511-aed5-b50cf9e67252" providerId="ADAL" clId="{27E91C08-3CA6-4129-AF6E-449EA40E5C4F}" dt="2021-02-07T15:42:26.619" v="1195" actId="478"/>
          <ac:spMkLst>
            <pc:docMk/>
            <pc:sldMk cId="3655946138" sldId="10248"/>
            <ac:spMk id="35" creationId="{82583F54-FD2D-4CF8-9F12-0C897B1000EF}"/>
          </ac:spMkLst>
        </pc:spChg>
        <pc:spChg chg="mod">
          <ac:chgData name="Ajit Kotwal" userId="781b8ab5-6f9a-4511-aed5-b50cf9e67252" providerId="ADAL" clId="{27E91C08-3CA6-4129-AF6E-449EA40E5C4F}" dt="2021-02-07T15:43:37.690" v="1255" actId="1036"/>
          <ac:spMkLst>
            <pc:docMk/>
            <pc:sldMk cId="3655946138" sldId="10248"/>
            <ac:spMk id="39" creationId="{4D6FC085-C053-4D1E-8598-BF7A1B956072}"/>
          </ac:spMkLst>
        </pc:spChg>
        <pc:spChg chg="del">
          <ac:chgData name="Ajit Kotwal" userId="781b8ab5-6f9a-4511-aed5-b50cf9e67252" providerId="ADAL" clId="{27E91C08-3CA6-4129-AF6E-449EA40E5C4F}" dt="2021-02-07T15:43:10.666" v="1197" actId="478"/>
          <ac:spMkLst>
            <pc:docMk/>
            <pc:sldMk cId="3655946138" sldId="10248"/>
            <ac:spMk id="43" creationId="{8D779325-EE33-4684-A270-CAC2DCE65BA6}"/>
          </ac:spMkLst>
        </pc:spChg>
        <pc:spChg chg="mod">
          <ac:chgData name="Ajit Kotwal" userId="781b8ab5-6f9a-4511-aed5-b50cf9e67252" providerId="ADAL" clId="{27E91C08-3CA6-4129-AF6E-449EA40E5C4F}" dt="2021-02-07T15:48:33.934" v="1481" actId="20577"/>
          <ac:spMkLst>
            <pc:docMk/>
            <pc:sldMk cId="3655946138" sldId="10248"/>
            <ac:spMk id="48" creationId="{EC1991FE-22CA-4473-8132-A42D261176C3}"/>
          </ac:spMkLst>
        </pc:spChg>
        <pc:spChg chg="del">
          <ac:chgData name="Ajit Kotwal" userId="781b8ab5-6f9a-4511-aed5-b50cf9e67252" providerId="ADAL" clId="{27E91C08-3CA6-4129-AF6E-449EA40E5C4F}" dt="2021-02-07T15:42:26.619" v="1195" actId="478"/>
          <ac:spMkLst>
            <pc:docMk/>
            <pc:sldMk cId="3655946138" sldId="10248"/>
            <ac:spMk id="49" creationId="{6F4E48B8-4202-4A6F-AA01-A6BF6628D6FC}"/>
          </ac:spMkLst>
        </pc:spChg>
        <pc:spChg chg="mod">
          <ac:chgData name="Ajit Kotwal" userId="781b8ab5-6f9a-4511-aed5-b50cf9e67252" providerId="ADAL" clId="{27E91C08-3CA6-4129-AF6E-449EA40E5C4F}" dt="2021-02-07T15:43:37.690" v="1255" actId="1036"/>
          <ac:spMkLst>
            <pc:docMk/>
            <pc:sldMk cId="3655946138" sldId="10248"/>
            <ac:spMk id="50" creationId="{899A069E-8A45-412F-AD95-9171B760F465}"/>
          </ac:spMkLst>
        </pc:spChg>
        <pc:spChg chg="del">
          <ac:chgData name="Ajit Kotwal" userId="781b8ab5-6f9a-4511-aed5-b50cf9e67252" providerId="ADAL" clId="{27E91C08-3CA6-4129-AF6E-449EA40E5C4F}" dt="2021-02-07T15:43:10.666" v="1197" actId="478"/>
          <ac:spMkLst>
            <pc:docMk/>
            <pc:sldMk cId="3655946138" sldId="10248"/>
            <ac:spMk id="51" creationId="{B15689F8-F6E3-4453-833B-0D8CBBBA5F35}"/>
          </ac:spMkLst>
        </pc:spChg>
        <pc:grpChg chg="del">
          <ac:chgData name="Ajit Kotwal" userId="781b8ab5-6f9a-4511-aed5-b50cf9e67252" providerId="ADAL" clId="{27E91C08-3CA6-4129-AF6E-449EA40E5C4F}" dt="2021-02-07T15:42:26.619" v="1195" actId="478"/>
          <ac:grpSpMkLst>
            <pc:docMk/>
            <pc:sldMk cId="3655946138" sldId="10248"/>
            <ac:grpSpMk id="36" creationId="{595FD759-2F2A-44DD-8CC3-3EA1C720B0D4}"/>
          </ac:grpSpMkLst>
        </pc:grpChg>
        <pc:grpChg chg="mod">
          <ac:chgData name="Ajit Kotwal" userId="781b8ab5-6f9a-4511-aed5-b50cf9e67252" providerId="ADAL" clId="{27E91C08-3CA6-4129-AF6E-449EA40E5C4F}" dt="2021-02-07T15:43:37.690" v="1255" actId="1036"/>
          <ac:grpSpMkLst>
            <pc:docMk/>
            <pc:sldMk cId="3655946138" sldId="10248"/>
            <ac:grpSpMk id="40" creationId="{774983D6-3708-4E25-B0CE-5291AD0F72ED}"/>
          </ac:grpSpMkLst>
        </pc:grpChg>
        <pc:grpChg chg="del">
          <ac:chgData name="Ajit Kotwal" userId="781b8ab5-6f9a-4511-aed5-b50cf9e67252" providerId="ADAL" clId="{27E91C08-3CA6-4129-AF6E-449EA40E5C4F}" dt="2021-02-07T15:43:10.666" v="1197" actId="478"/>
          <ac:grpSpMkLst>
            <pc:docMk/>
            <pc:sldMk cId="3655946138" sldId="10248"/>
            <ac:grpSpMk id="44" creationId="{89255C37-BCFD-4036-9F5F-002DCA5AE29F}"/>
          </ac:grpSpMkLst>
        </pc:grpChg>
        <pc:cxnChg chg="del">
          <ac:chgData name="Ajit Kotwal" userId="781b8ab5-6f9a-4511-aed5-b50cf9e67252" providerId="ADAL" clId="{27E91C08-3CA6-4129-AF6E-449EA40E5C4F}" dt="2021-02-07T15:42:26.619" v="1195" actId="478"/>
          <ac:cxnSpMkLst>
            <pc:docMk/>
            <pc:sldMk cId="3655946138" sldId="10248"/>
            <ac:cxnSpMk id="28" creationId="{502F0AE0-091E-4632-9F6B-85E6B0D9F0CD}"/>
          </ac:cxnSpMkLst>
        </pc:cxnChg>
        <pc:cxnChg chg="mod">
          <ac:chgData name="Ajit Kotwal" userId="781b8ab5-6f9a-4511-aed5-b50cf9e67252" providerId="ADAL" clId="{27E91C08-3CA6-4129-AF6E-449EA40E5C4F}" dt="2021-02-07T15:43:37.690" v="1255" actId="1036"/>
          <ac:cxnSpMkLst>
            <pc:docMk/>
            <pc:sldMk cId="3655946138" sldId="10248"/>
            <ac:cxnSpMk id="29" creationId="{EB84DF05-BA26-4958-A40A-7B14F3E434D4}"/>
          </ac:cxnSpMkLst>
        </pc:cxnChg>
        <pc:cxnChg chg="del">
          <ac:chgData name="Ajit Kotwal" userId="781b8ab5-6f9a-4511-aed5-b50cf9e67252" providerId="ADAL" clId="{27E91C08-3CA6-4129-AF6E-449EA40E5C4F}" dt="2021-02-07T15:43:10.666" v="1197" actId="478"/>
          <ac:cxnSpMkLst>
            <pc:docMk/>
            <pc:sldMk cId="3655946138" sldId="10248"/>
            <ac:cxnSpMk id="30" creationId="{99CCBDAB-104D-4665-8A69-BFDEA24A3F10}"/>
          </ac:cxnSpMkLst>
        </pc:cxnChg>
      </pc:sldChg>
      <pc:sldChg chg="modSp add mod ord">
        <pc:chgData name="Ajit Kotwal" userId="781b8ab5-6f9a-4511-aed5-b50cf9e67252" providerId="ADAL" clId="{27E91C08-3CA6-4129-AF6E-449EA40E5C4F}" dt="2021-02-13T13:45:07.881" v="3253"/>
        <pc:sldMkLst>
          <pc:docMk/>
          <pc:sldMk cId="2437523513" sldId="10249"/>
        </pc:sldMkLst>
        <pc:spChg chg="mod">
          <ac:chgData name="Ajit Kotwal" userId="781b8ab5-6f9a-4511-aed5-b50cf9e67252" providerId="ADAL" clId="{27E91C08-3CA6-4129-AF6E-449EA40E5C4F}" dt="2021-02-13T13:43:27.239" v="3195" actId="20577"/>
          <ac:spMkLst>
            <pc:docMk/>
            <pc:sldMk cId="2437523513" sldId="10249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3:43:36.265" v="3213" actId="20577"/>
          <ac:spMkLst>
            <pc:docMk/>
            <pc:sldMk cId="2437523513" sldId="10249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3:43:59.578" v="3241" actId="20577"/>
          <ac:spMkLst>
            <pc:docMk/>
            <pc:sldMk cId="2437523513" sldId="10249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07T17:35:40.982" v="1647" actId="20577"/>
        <pc:sldMkLst>
          <pc:docMk/>
          <pc:sldMk cId="2238344170" sldId="10250"/>
        </pc:sldMkLst>
        <pc:spChg chg="mod">
          <ac:chgData name="Ajit Kotwal" userId="781b8ab5-6f9a-4511-aed5-b50cf9e67252" providerId="ADAL" clId="{27E91C08-3CA6-4129-AF6E-449EA40E5C4F}" dt="2021-02-07T17:35:40.982" v="1647" actId="20577"/>
          <ac:spMkLst>
            <pc:docMk/>
            <pc:sldMk cId="2238344170" sldId="10250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07T17:36:12.696" v="1685" actId="20577"/>
        <pc:sldMkLst>
          <pc:docMk/>
          <pc:sldMk cId="1580086726" sldId="10251"/>
        </pc:sldMkLst>
        <pc:spChg chg="mod">
          <ac:chgData name="Ajit Kotwal" userId="781b8ab5-6f9a-4511-aed5-b50cf9e67252" providerId="ADAL" clId="{27E91C08-3CA6-4129-AF6E-449EA40E5C4F}" dt="2021-02-07T17:36:12.696" v="1685" actId="20577"/>
          <ac:spMkLst>
            <pc:docMk/>
            <pc:sldMk cId="1580086726" sldId="10251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07T17:36:26.700" v="1695" actId="20577"/>
        <pc:sldMkLst>
          <pc:docMk/>
          <pc:sldMk cId="1223170369" sldId="10252"/>
        </pc:sldMkLst>
        <pc:spChg chg="mod">
          <ac:chgData name="Ajit Kotwal" userId="781b8ab5-6f9a-4511-aed5-b50cf9e67252" providerId="ADAL" clId="{27E91C08-3CA6-4129-AF6E-449EA40E5C4F}" dt="2021-02-07T17:36:26.700" v="1695" actId="20577"/>
          <ac:spMkLst>
            <pc:docMk/>
            <pc:sldMk cId="1223170369" sldId="10252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07T17:36:46.170" v="1726" actId="20577"/>
        <pc:sldMkLst>
          <pc:docMk/>
          <pc:sldMk cId="35563500" sldId="10253"/>
        </pc:sldMkLst>
        <pc:spChg chg="mod">
          <ac:chgData name="Ajit Kotwal" userId="781b8ab5-6f9a-4511-aed5-b50cf9e67252" providerId="ADAL" clId="{27E91C08-3CA6-4129-AF6E-449EA40E5C4F}" dt="2021-02-07T17:36:46.170" v="1726" actId="20577"/>
          <ac:spMkLst>
            <pc:docMk/>
            <pc:sldMk cId="35563500" sldId="10253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07T17:37:16.196" v="1739" actId="20577"/>
        <pc:sldMkLst>
          <pc:docMk/>
          <pc:sldMk cId="2909635083" sldId="10254"/>
        </pc:sldMkLst>
        <pc:spChg chg="mod">
          <ac:chgData name="Ajit Kotwal" userId="781b8ab5-6f9a-4511-aed5-b50cf9e67252" providerId="ADAL" clId="{27E91C08-3CA6-4129-AF6E-449EA40E5C4F}" dt="2021-02-07T17:37:16.196" v="1739" actId="20577"/>
          <ac:spMkLst>
            <pc:docMk/>
            <pc:sldMk cId="2909635083" sldId="10254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07T17:37:39.494" v="1758" actId="20577"/>
        <pc:sldMkLst>
          <pc:docMk/>
          <pc:sldMk cId="2807746370" sldId="10255"/>
        </pc:sldMkLst>
        <pc:spChg chg="mod">
          <ac:chgData name="Ajit Kotwal" userId="781b8ab5-6f9a-4511-aed5-b50cf9e67252" providerId="ADAL" clId="{27E91C08-3CA6-4129-AF6E-449EA40E5C4F}" dt="2021-02-07T17:37:39.494" v="1758" actId="20577"/>
          <ac:spMkLst>
            <pc:docMk/>
            <pc:sldMk cId="2807746370" sldId="10255"/>
            <ac:spMk id="8" creationId="{B641FCBC-9EF2-4AD6-AD44-163FDED01C39}"/>
          </ac:spMkLst>
        </pc:spChg>
      </pc:sldChg>
      <pc:sldChg chg="modSp add del mod setBg modCm">
        <pc:chgData name="Ajit Kotwal" userId="781b8ab5-6f9a-4511-aed5-b50cf9e67252" providerId="ADAL" clId="{27E91C08-3CA6-4129-AF6E-449EA40E5C4F}" dt="2021-02-14T18:38:54.489" v="8511" actId="47"/>
        <pc:sldMkLst>
          <pc:docMk/>
          <pc:sldMk cId="3549929259" sldId="10256"/>
        </pc:sldMkLst>
        <pc:spChg chg="mod">
          <ac:chgData name="Ajit Kotwal" userId="781b8ab5-6f9a-4511-aed5-b50cf9e67252" providerId="ADAL" clId="{27E91C08-3CA6-4129-AF6E-449EA40E5C4F}" dt="2021-02-07T21:01:55.869" v="2132" actId="20577"/>
          <ac:spMkLst>
            <pc:docMk/>
            <pc:sldMk cId="3549929259" sldId="10256"/>
            <ac:spMk id="8" creationId="{B641FCBC-9EF2-4AD6-AD44-163FDED01C39}"/>
          </ac:spMkLst>
        </pc:spChg>
      </pc:sldChg>
      <pc:sldChg chg="addSp delSp modSp mod modCm">
        <pc:chgData name="Ajit Kotwal" userId="781b8ab5-6f9a-4511-aed5-b50cf9e67252" providerId="ADAL" clId="{27E91C08-3CA6-4129-AF6E-449EA40E5C4F}" dt="2021-02-13T13:24:59.930" v="2971" actId="20577"/>
        <pc:sldMkLst>
          <pc:docMk/>
          <pc:sldMk cId="706792741" sldId="10259"/>
        </pc:sldMkLst>
        <pc:spChg chg="mod">
          <ac:chgData name="Ajit Kotwal" userId="781b8ab5-6f9a-4511-aed5-b50cf9e67252" providerId="ADAL" clId="{27E91C08-3CA6-4129-AF6E-449EA40E5C4F}" dt="2021-02-13T13:16:21.949" v="2889" actId="20577"/>
          <ac:spMkLst>
            <pc:docMk/>
            <pc:sldMk cId="706792741" sldId="10259"/>
            <ac:spMk id="2" creationId="{11981002-9C29-43DD-9EFC-331DD8486892}"/>
          </ac:spMkLst>
        </pc:spChg>
        <pc:spChg chg="add">
          <ac:chgData name="Ajit Kotwal" userId="781b8ab5-6f9a-4511-aed5-b50cf9e67252" providerId="ADAL" clId="{27E91C08-3CA6-4129-AF6E-449EA40E5C4F}" dt="2021-02-08T18:49:07.519" v="2827" actId="22"/>
          <ac:spMkLst>
            <pc:docMk/>
            <pc:sldMk cId="706792741" sldId="10259"/>
            <ac:spMk id="4" creationId="{044BE232-5AE6-4E93-B8F1-C958C532B056}"/>
          </ac:spMkLst>
        </pc:spChg>
        <pc:spChg chg="add del">
          <ac:chgData name="Ajit Kotwal" userId="781b8ab5-6f9a-4511-aed5-b50cf9e67252" providerId="ADAL" clId="{27E91C08-3CA6-4129-AF6E-449EA40E5C4F}" dt="2021-02-08T18:48:54.864" v="2826" actId="22"/>
          <ac:spMkLst>
            <pc:docMk/>
            <pc:sldMk cId="706792741" sldId="10259"/>
            <ac:spMk id="9" creationId="{3E96410D-AFFC-4426-B589-708C401CBEB3}"/>
          </ac:spMkLst>
        </pc:spChg>
        <pc:graphicFrameChg chg="mod">
          <ac:chgData name="Ajit Kotwal" userId="781b8ab5-6f9a-4511-aed5-b50cf9e67252" providerId="ADAL" clId="{27E91C08-3CA6-4129-AF6E-449EA40E5C4F}" dt="2021-02-13T13:24:59.930" v="2971" actId="20577"/>
          <ac:graphicFrameMkLst>
            <pc:docMk/>
            <pc:sldMk cId="706792741" sldId="10259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08T18:33:30.219" v="2729" actId="20577"/>
          <ac:graphicFrameMkLst>
            <pc:docMk/>
            <pc:sldMk cId="706792741" sldId="10259"/>
            <ac:graphicFrameMk id="12" creationId="{0BA42EE4-2131-467C-8AC6-CFACB976FC9C}"/>
          </ac:graphicFrameMkLst>
        </pc:graphicFrameChg>
      </pc:sldChg>
      <pc:sldChg chg="addSp modSp mod addCm">
        <pc:chgData name="Ajit Kotwal" userId="781b8ab5-6f9a-4511-aed5-b50cf9e67252" providerId="ADAL" clId="{27E91C08-3CA6-4129-AF6E-449EA40E5C4F}" dt="2021-02-08T18:49:17.381" v="2828" actId="22"/>
        <pc:sldMkLst>
          <pc:docMk/>
          <pc:sldMk cId="3979634199" sldId="10260"/>
        </pc:sldMkLst>
        <pc:spChg chg="add">
          <ac:chgData name="Ajit Kotwal" userId="781b8ab5-6f9a-4511-aed5-b50cf9e67252" providerId="ADAL" clId="{27E91C08-3CA6-4129-AF6E-449EA40E5C4F}" dt="2021-02-08T18:49:17.381" v="2828" actId="22"/>
          <ac:spMkLst>
            <pc:docMk/>
            <pc:sldMk cId="3979634199" sldId="10260"/>
            <ac:spMk id="2" creationId="{F2EB7CDF-9049-4C66-AD51-558F6559E8DD}"/>
          </ac:spMkLst>
        </pc:spChg>
        <pc:spChg chg="mod">
          <ac:chgData name="Ajit Kotwal" userId="781b8ab5-6f9a-4511-aed5-b50cf9e67252" providerId="ADAL" clId="{27E91C08-3CA6-4129-AF6E-449EA40E5C4F}" dt="2021-02-08T18:46:04.356" v="2792" actId="20577"/>
          <ac:spMkLst>
            <pc:docMk/>
            <pc:sldMk cId="3979634199" sldId="10260"/>
            <ac:spMk id="5" creationId="{547A5090-3200-4E66-A6DC-F99D1225FD99}"/>
          </ac:spMkLst>
        </pc:spChg>
        <pc:graphicFrameChg chg="mod modGraphic">
          <ac:chgData name="Ajit Kotwal" userId="781b8ab5-6f9a-4511-aed5-b50cf9e67252" providerId="ADAL" clId="{27E91C08-3CA6-4129-AF6E-449EA40E5C4F}" dt="2021-02-08T18:41:43.238" v="2790" actId="5793"/>
          <ac:graphicFrameMkLst>
            <pc:docMk/>
            <pc:sldMk cId="3979634199" sldId="10260"/>
            <ac:graphicFrameMk id="7" creationId="{E1DA1B01-B825-4EF5-A3CE-BCA4EBDD6C74}"/>
          </ac:graphicFrameMkLst>
        </pc:graphicFrameChg>
      </pc:sldChg>
      <pc:sldChg chg="modSp mod ord">
        <pc:chgData name="Ajit Kotwal" userId="781b8ab5-6f9a-4511-aed5-b50cf9e67252" providerId="ADAL" clId="{27E91C08-3CA6-4129-AF6E-449EA40E5C4F}" dt="2021-02-13T13:53:27.261" v="3279"/>
        <pc:sldMkLst>
          <pc:docMk/>
          <pc:sldMk cId="1419640178" sldId="10261"/>
        </pc:sldMkLst>
        <pc:spChg chg="mod">
          <ac:chgData name="Ajit Kotwal" userId="781b8ab5-6f9a-4511-aed5-b50cf9e67252" providerId="ADAL" clId="{27E91C08-3CA6-4129-AF6E-449EA40E5C4F}" dt="2021-02-13T13:46:24.477" v="3261" actId="20577"/>
          <ac:spMkLst>
            <pc:docMk/>
            <pc:sldMk cId="1419640178" sldId="10261"/>
            <ac:spMk id="2" creationId="{11981002-9C29-43DD-9EFC-331DD8486892}"/>
          </ac:spMkLst>
        </pc:spChg>
      </pc:sldChg>
      <pc:sldChg chg="modSp mod ord">
        <pc:chgData name="Ajit Kotwal" userId="781b8ab5-6f9a-4511-aed5-b50cf9e67252" providerId="ADAL" clId="{27E91C08-3CA6-4129-AF6E-449EA40E5C4F}" dt="2021-02-13T13:53:27.261" v="3279"/>
        <pc:sldMkLst>
          <pc:docMk/>
          <pc:sldMk cId="2361702661" sldId="10262"/>
        </pc:sldMkLst>
        <pc:spChg chg="mod">
          <ac:chgData name="Ajit Kotwal" userId="781b8ab5-6f9a-4511-aed5-b50cf9e67252" providerId="ADAL" clId="{27E91C08-3CA6-4129-AF6E-449EA40E5C4F}" dt="2021-02-13T13:46:30.327" v="3269" actId="20577"/>
          <ac:spMkLst>
            <pc:docMk/>
            <pc:sldMk cId="2361702661" sldId="10262"/>
            <ac:spMk id="2" creationId="{11981002-9C29-43DD-9EFC-331DD8486892}"/>
          </ac:spMkLst>
        </pc:spChg>
      </pc:sldChg>
      <pc:sldChg chg="modSp mod ord">
        <pc:chgData name="Ajit Kotwal" userId="781b8ab5-6f9a-4511-aed5-b50cf9e67252" providerId="ADAL" clId="{27E91C08-3CA6-4129-AF6E-449EA40E5C4F}" dt="2021-02-13T13:53:39.707" v="3281"/>
        <pc:sldMkLst>
          <pc:docMk/>
          <pc:sldMk cId="3865687768" sldId="10263"/>
        </pc:sldMkLst>
        <pc:spChg chg="mod">
          <ac:chgData name="Ajit Kotwal" userId="781b8ab5-6f9a-4511-aed5-b50cf9e67252" providerId="ADAL" clId="{27E91C08-3CA6-4129-AF6E-449EA40E5C4F}" dt="2021-02-13T13:46:38.300" v="3277" actId="20577"/>
          <ac:spMkLst>
            <pc:docMk/>
            <pc:sldMk cId="3865687768" sldId="10263"/>
            <ac:spMk id="2" creationId="{11981002-9C29-43DD-9EFC-331DD8486892}"/>
          </ac:spMkLst>
        </pc:spChg>
      </pc:sldChg>
      <pc:sldChg chg="modSp mod ord addCm">
        <pc:chgData name="Ajit Kotwal" userId="781b8ab5-6f9a-4511-aed5-b50cf9e67252" providerId="ADAL" clId="{27E91C08-3CA6-4129-AF6E-449EA40E5C4F}" dt="2021-02-13T13:44:34.797" v="3249" actId="20577"/>
        <pc:sldMkLst>
          <pc:docMk/>
          <pc:sldMk cId="221291899" sldId="10264"/>
        </pc:sldMkLst>
        <pc:spChg chg="mod">
          <ac:chgData name="Ajit Kotwal" userId="781b8ab5-6f9a-4511-aed5-b50cf9e67252" providerId="ADAL" clId="{27E91C08-3CA6-4129-AF6E-449EA40E5C4F}" dt="2021-02-13T13:44:34.797" v="3249" actId="20577"/>
          <ac:spMkLst>
            <pc:docMk/>
            <pc:sldMk cId="221291899" sldId="10264"/>
            <ac:spMk id="2" creationId="{11981002-9C29-43DD-9EFC-331DD8486892}"/>
          </ac:spMkLst>
        </pc:spChg>
        <pc:graphicFrameChg chg="mod">
          <ac:chgData name="Ajit Kotwal" userId="781b8ab5-6f9a-4511-aed5-b50cf9e67252" providerId="ADAL" clId="{27E91C08-3CA6-4129-AF6E-449EA40E5C4F}" dt="2021-02-13T13:37:01.281" v="3173" actId="20577"/>
          <ac:graphicFrameMkLst>
            <pc:docMk/>
            <pc:sldMk cId="221291899" sldId="10264"/>
            <ac:graphicFrameMk id="12" creationId="{0BA42EE4-2131-467C-8AC6-CFACB976FC9C}"/>
          </ac:graphicFrameMkLst>
        </pc:graphicFrameChg>
      </pc:sldChg>
      <pc:sldChg chg="modSp add mod">
        <pc:chgData name="Ajit Kotwal" userId="781b8ab5-6f9a-4511-aed5-b50cf9e67252" providerId="ADAL" clId="{27E91C08-3CA6-4129-AF6E-449EA40E5C4F}" dt="2021-02-13T13:31:23.769" v="2985" actId="20577"/>
        <pc:sldMkLst>
          <pc:docMk/>
          <pc:sldMk cId="391996366" sldId="10265"/>
        </pc:sldMkLst>
        <pc:spChg chg="mod">
          <ac:chgData name="Ajit Kotwal" userId="781b8ab5-6f9a-4511-aed5-b50cf9e67252" providerId="ADAL" clId="{27E91C08-3CA6-4129-AF6E-449EA40E5C4F}" dt="2021-02-13T13:31:23.769" v="2985" actId="20577"/>
          <ac:spMkLst>
            <pc:docMk/>
            <pc:sldMk cId="391996366" sldId="10265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1:40.755" v="3012" actId="20577"/>
        <pc:sldMkLst>
          <pc:docMk/>
          <pc:sldMk cId="1464311764" sldId="10266"/>
        </pc:sldMkLst>
        <pc:spChg chg="mod">
          <ac:chgData name="Ajit Kotwal" userId="781b8ab5-6f9a-4511-aed5-b50cf9e67252" providerId="ADAL" clId="{27E91C08-3CA6-4129-AF6E-449EA40E5C4F}" dt="2021-02-13T13:31:40.755" v="3012" actId="20577"/>
          <ac:spMkLst>
            <pc:docMk/>
            <pc:sldMk cId="1464311764" sldId="10266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1:56.307" v="3039" actId="20577"/>
        <pc:sldMkLst>
          <pc:docMk/>
          <pc:sldMk cId="2263689843" sldId="10267"/>
        </pc:sldMkLst>
        <pc:spChg chg="mod">
          <ac:chgData name="Ajit Kotwal" userId="781b8ab5-6f9a-4511-aed5-b50cf9e67252" providerId="ADAL" clId="{27E91C08-3CA6-4129-AF6E-449EA40E5C4F}" dt="2021-02-13T13:31:56.307" v="3039" actId="20577"/>
          <ac:spMkLst>
            <pc:docMk/>
            <pc:sldMk cId="2263689843" sldId="10267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2:16.049" v="3064" actId="20577"/>
        <pc:sldMkLst>
          <pc:docMk/>
          <pc:sldMk cId="2715589730" sldId="10268"/>
        </pc:sldMkLst>
        <pc:spChg chg="mod">
          <ac:chgData name="Ajit Kotwal" userId="781b8ab5-6f9a-4511-aed5-b50cf9e67252" providerId="ADAL" clId="{27E91C08-3CA6-4129-AF6E-449EA40E5C4F}" dt="2021-02-13T13:32:16.049" v="3064" actId="20577"/>
          <ac:spMkLst>
            <pc:docMk/>
            <pc:sldMk cId="2715589730" sldId="10268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2:47.017" v="3088" actId="20577"/>
        <pc:sldMkLst>
          <pc:docMk/>
          <pc:sldMk cId="741988666" sldId="10269"/>
        </pc:sldMkLst>
        <pc:spChg chg="mod">
          <ac:chgData name="Ajit Kotwal" userId="781b8ab5-6f9a-4511-aed5-b50cf9e67252" providerId="ADAL" clId="{27E91C08-3CA6-4129-AF6E-449EA40E5C4F}" dt="2021-02-13T13:32:47.017" v="3088" actId="20577"/>
          <ac:spMkLst>
            <pc:docMk/>
            <pc:sldMk cId="741988666" sldId="10269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2:58.830" v="3109" actId="20577"/>
        <pc:sldMkLst>
          <pc:docMk/>
          <pc:sldMk cId="3612003927" sldId="10270"/>
        </pc:sldMkLst>
        <pc:spChg chg="mod">
          <ac:chgData name="Ajit Kotwal" userId="781b8ab5-6f9a-4511-aed5-b50cf9e67252" providerId="ADAL" clId="{27E91C08-3CA6-4129-AF6E-449EA40E5C4F}" dt="2021-02-13T13:32:58.830" v="3109" actId="20577"/>
          <ac:spMkLst>
            <pc:docMk/>
            <pc:sldMk cId="3612003927" sldId="10270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3:20.403" v="3147" actId="20577"/>
        <pc:sldMkLst>
          <pc:docMk/>
          <pc:sldMk cId="3124349307" sldId="10271"/>
        </pc:sldMkLst>
        <pc:spChg chg="mod">
          <ac:chgData name="Ajit Kotwal" userId="781b8ab5-6f9a-4511-aed5-b50cf9e67252" providerId="ADAL" clId="{27E91C08-3CA6-4129-AF6E-449EA40E5C4F}" dt="2021-02-13T13:33:20.403" v="3147" actId="20577"/>
          <ac:spMkLst>
            <pc:docMk/>
            <pc:sldMk cId="3124349307" sldId="10271"/>
            <ac:spMk id="8" creationId="{B641FCBC-9EF2-4AD6-AD44-163FDED01C39}"/>
          </ac:spMkLst>
        </pc:spChg>
      </pc:sldChg>
      <pc:sldChg chg="modSp add mod">
        <pc:chgData name="Ajit Kotwal" userId="781b8ab5-6f9a-4511-aed5-b50cf9e67252" providerId="ADAL" clId="{27E91C08-3CA6-4129-AF6E-449EA40E5C4F}" dt="2021-02-13T13:33:49.806" v="3155" actId="20577"/>
        <pc:sldMkLst>
          <pc:docMk/>
          <pc:sldMk cId="2975848837" sldId="10272"/>
        </pc:sldMkLst>
        <pc:spChg chg="mod">
          <ac:chgData name="Ajit Kotwal" userId="781b8ab5-6f9a-4511-aed5-b50cf9e67252" providerId="ADAL" clId="{27E91C08-3CA6-4129-AF6E-449EA40E5C4F}" dt="2021-02-13T13:33:49.806" v="3155" actId="20577"/>
          <ac:spMkLst>
            <pc:docMk/>
            <pc:sldMk cId="2975848837" sldId="10272"/>
            <ac:spMk id="8" creationId="{B641FCBC-9EF2-4AD6-AD44-163FDED01C39}"/>
          </ac:spMkLst>
        </pc:spChg>
      </pc:sldChg>
      <pc:sldChg chg="add del">
        <pc:chgData name="Ajit Kotwal" userId="781b8ab5-6f9a-4511-aed5-b50cf9e67252" providerId="ADAL" clId="{27E91C08-3CA6-4129-AF6E-449EA40E5C4F}" dt="2021-02-13T13:33:31.309" v="3149" actId="47"/>
        <pc:sldMkLst>
          <pc:docMk/>
          <pc:sldMk cId="3416726148" sldId="10272"/>
        </pc:sldMkLst>
      </pc:sldChg>
      <pc:sldChg chg="modSp add mod">
        <pc:chgData name="Ajit Kotwal" userId="781b8ab5-6f9a-4511-aed5-b50cf9e67252" providerId="ADAL" clId="{27E91C08-3CA6-4129-AF6E-449EA40E5C4F}" dt="2021-02-13T13:33:56.496" v="3163" actId="20577"/>
        <pc:sldMkLst>
          <pc:docMk/>
          <pc:sldMk cId="1574071284" sldId="10273"/>
        </pc:sldMkLst>
        <pc:spChg chg="mod">
          <ac:chgData name="Ajit Kotwal" userId="781b8ab5-6f9a-4511-aed5-b50cf9e67252" providerId="ADAL" clId="{27E91C08-3CA6-4129-AF6E-449EA40E5C4F}" dt="2021-02-13T13:33:56.496" v="3163" actId="20577"/>
          <ac:spMkLst>
            <pc:docMk/>
            <pc:sldMk cId="1574071284" sldId="10273"/>
            <ac:spMk id="8" creationId="{B641FCBC-9EF2-4AD6-AD44-163FDED01C39}"/>
          </ac:spMkLst>
        </pc:spChg>
      </pc:sldChg>
      <pc:sldChg chg="add ord">
        <pc:chgData name="Ajit Kotwal" userId="781b8ab5-6f9a-4511-aed5-b50cf9e67252" providerId="ADAL" clId="{27E91C08-3CA6-4129-AF6E-449EA40E5C4F}" dt="2021-02-13T13:45:04.607" v="3251"/>
        <pc:sldMkLst>
          <pc:docMk/>
          <pc:sldMk cId="2263370975" sldId="10274"/>
        </pc:sldMkLst>
      </pc:sldChg>
      <pc:sldChg chg="modSp add mod">
        <pc:chgData name="Ajit Kotwal" userId="781b8ab5-6f9a-4511-aed5-b50cf9e67252" providerId="ADAL" clId="{27E91C08-3CA6-4129-AF6E-449EA40E5C4F}" dt="2021-02-13T15:00:15.744" v="4705" actId="20577"/>
        <pc:sldMkLst>
          <pc:docMk/>
          <pc:sldMk cId="1648800858" sldId="10275"/>
        </pc:sldMkLst>
        <pc:spChg chg="mod">
          <ac:chgData name="Ajit Kotwal" userId="781b8ab5-6f9a-4511-aed5-b50cf9e67252" providerId="ADAL" clId="{27E91C08-3CA6-4129-AF6E-449EA40E5C4F}" dt="2021-02-13T13:59:58.799" v="3309" actId="20577"/>
          <ac:spMkLst>
            <pc:docMk/>
            <pc:sldMk cId="1648800858" sldId="10275"/>
            <ac:spMk id="2" creationId="{11981002-9C29-43DD-9EFC-331DD8486892}"/>
          </ac:spMkLst>
        </pc:spChg>
        <pc:graphicFrameChg chg="mod">
          <ac:chgData name="Ajit Kotwal" userId="781b8ab5-6f9a-4511-aed5-b50cf9e67252" providerId="ADAL" clId="{27E91C08-3CA6-4129-AF6E-449EA40E5C4F}" dt="2021-02-13T15:00:15.744" v="4705" actId="20577"/>
          <ac:graphicFrameMkLst>
            <pc:docMk/>
            <pc:sldMk cId="1648800858" sldId="10275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13T14:59:12.355" v="4704" actId="20577"/>
          <ac:graphicFrameMkLst>
            <pc:docMk/>
            <pc:sldMk cId="1648800858" sldId="10275"/>
            <ac:graphicFrameMk id="12" creationId="{0BA42EE4-2131-467C-8AC6-CFACB976FC9C}"/>
          </ac:graphicFrameMkLst>
        </pc:graphicFrameChg>
      </pc:sldChg>
      <pc:sldChg chg="modSp add mod">
        <pc:chgData name="Ajit Kotwal" userId="781b8ab5-6f9a-4511-aed5-b50cf9e67252" providerId="ADAL" clId="{27E91C08-3CA6-4129-AF6E-449EA40E5C4F}" dt="2021-02-13T15:05:13.939" v="4772" actId="20577"/>
        <pc:sldMkLst>
          <pc:docMk/>
          <pc:sldMk cId="2466818646" sldId="10276"/>
        </pc:sldMkLst>
        <pc:spChg chg="mod">
          <ac:chgData name="Ajit Kotwal" userId="781b8ab5-6f9a-4511-aed5-b50cf9e67252" providerId="ADAL" clId="{27E91C08-3CA6-4129-AF6E-449EA40E5C4F}" dt="2021-02-13T15:04:02.355" v="4725" actId="20577"/>
          <ac:spMkLst>
            <pc:docMk/>
            <pc:sldMk cId="2466818646" sldId="10276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04:11.437" v="4744" actId="20577"/>
          <ac:spMkLst>
            <pc:docMk/>
            <pc:sldMk cId="2466818646" sldId="10276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05:13.939" v="4772" actId="20577"/>
          <ac:spMkLst>
            <pc:docMk/>
            <pc:sldMk cId="2466818646" sldId="10276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3T15:07:39.642" v="4805" actId="20577"/>
        <pc:sldMkLst>
          <pc:docMk/>
          <pc:sldMk cId="397174415" sldId="10277"/>
        </pc:sldMkLst>
        <pc:spChg chg="mod">
          <ac:chgData name="Ajit Kotwal" userId="781b8ab5-6f9a-4511-aed5-b50cf9e67252" providerId="ADAL" clId="{27E91C08-3CA6-4129-AF6E-449EA40E5C4F}" dt="2021-02-13T15:06:18.529" v="4788" actId="20577"/>
          <ac:spMkLst>
            <pc:docMk/>
            <pc:sldMk cId="397174415" sldId="10277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06:27.315" v="4799" actId="20577"/>
          <ac:spMkLst>
            <pc:docMk/>
            <pc:sldMk cId="397174415" sldId="10277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07:39.642" v="4805" actId="20577"/>
          <ac:spMkLst>
            <pc:docMk/>
            <pc:sldMk cId="397174415" sldId="10277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5T08:36:12.245" v="9437" actId="20577"/>
        <pc:sldMkLst>
          <pc:docMk/>
          <pc:sldMk cId="2239434521" sldId="10278"/>
        </pc:sldMkLst>
        <pc:spChg chg="mod">
          <ac:chgData name="Ajit Kotwal" userId="781b8ab5-6f9a-4511-aed5-b50cf9e67252" providerId="ADAL" clId="{27E91C08-3CA6-4129-AF6E-449EA40E5C4F}" dt="2021-02-13T15:08:10.614" v="4823" actId="20577"/>
          <ac:spMkLst>
            <pc:docMk/>
            <pc:sldMk cId="2239434521" sldId="10278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5T08:36:12.245" v="9437" actId="20577"/>
          <ac:spMkLst>
            <pc:docMk/>
            <pc:sldMk cId="2239434521" sldId="10278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08:26.731" v="4839" actId="20577"/>
          <ac:spMkLst>
            <pc:docMk/>
            <pc:sldMk cId="2239434521" sldId="10278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3T15:09:22.454" v="4862" actId="20577"/>
        <pc:sldMkLst>
          <pc:docMk/>
          <pc:sldMk cId="1161685352" sldId="10279"/>
        </pc:sldMkLst>
        <pc:spChg chg="mod">
          <ac:chgData name="Ajit Kotwal" userId="781b8ab5-6f9a-4511-aed5-b50cf9e67252" providerId="ADAL" clId="{27E91C08-3CA6-4129-AF6E-449EA40E5C4F}" dt="2021-02-13T15:09:07.695" v="4851" actId="20577"/>
          <ac:spMkLst>
            <pc:docMk/>
            <pc:sldMk cId="1161685352" sldId="10279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09:14.452" v="4861" actId="20577"/>
          <ac:spMkLst>
            <pc:docMk/>
            <pc:sldMk cId="1161685352" sldId="10279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09:22.454" v="4862" actId="20577"/>
          <ac:spMkLst>
            <pc:docMk/>
            <pc:sldMk cId="1161685352" sldId="10279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3T15:22:59.657" v="4945" actId="20577"/>
        <pc:sldMkLst>
          <pc:docMk/>
          <pc:sldMk cId="916965836" sldId="10280"/>
        </pc:sldMkLst>
        <pc:spChg chg="mod">
          <ac:chgData name="Ajit Kotwal" userId="781b8ab5-6f9a-4511-aed5-b50cf9e67252" providerId="ADAL" clId="{27E91C08-3CA6-4129-AF6E-449EA40E5C4F}" dt="2021-02-13T15:09:41.019" v="4875" actId="20577"/>
          <ac:spMkLst>
            <pc:docMk/>
            <pc:sldMk cId="916965836" sldId="10280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09:48.278" v="4887" actId="20577"/>
          <ac:spMkLst>
            <pc:docMk/>
            <pc:sldMk cId="916965836" sldId="10280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22:59.657" v="4945" actId="20577"/>
          <ac:spMkLst>
            <pc:docMk/>
            <pc:sldMk cId="916965836" sldId="10280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3T15:11:44.202" v="4922" actId="20577"/>
        <pc:sldMkLst>
          <pc:docMk/>
          <pc:sldMk cId="3346154788" sldId="10281"/>
        </pc:sldMkLst>
        <pc:spChg chg="mod">
          <ac:chgData name="Ajit Kotwal" userId="781b8ab5-6f9a-4511-aed5-b50cf9e67252" providerId="ADAL" clId="{27E91C08-3CA6-4129-AF6E-449EA40E5C4F}" dt="2021-02-13T15:11:26.165" v="4917" actId="20577"/>
          <ac:spMkLst>
            <pc:docMk/>
            <pc:sldMk cId="3346154788" sldId="10281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11:44.202" v="4922" actId="20577"/>
          <ac:spMkLst>
            <pc:docMk/>
            <pc:sldMk cId="3346154788" sldId="10281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11:34.850" v="4918" actId="20577"/>
          <ac:spMkLst>
            <pc:docMk/>
            <pc:sldMk cId="3346154788" sldId="10281"/>
            <ac:spMk id="15" creationId="{BDD64BFD-7ED9-4476-ABC3-6BBAC4A275B2}"/>
          </ac:spMkLst>
        </pc:spChg>
      </pc:sldChg>
      <pc:sldChg chg="modSp add mod">
        <pc:chgData name="Ajit Kotwal" userId="781b8ab5-6f9a-4511-aed5-b50cf9e67252" providerId="ADAL" clId="{27E91C08-3CA6-4129-AF6E-449EA40E5C4F}" dt="2021-02-13T15:12:19.965" v="4943" actId="20577"/>
        <pc:sldMkLst>
          <pc:docMk/>
          <pc:sldMk cId="2981688304" sldId="10282"/>
        </pc:sldMkLst>
        <pc:spChg chg="mod">
          <ac:chgData name="Ajit Kotwal" userId="781b8ab5-6f9a-4511-aed5-b50cf9e67252" providerId="ADAL" clId="{27E91C08-3CA6-4129-AF6E-449EA40E5C4F}" dt="2021-02-13T15:12:02.411" v="4932" actId="20577"/>
          <ac:spMkLst>
            <pc:docMk/>
            <pc:sldMk cId="2981688304" sldId="10282"/>
            <ac:spMk id="2" creationId="{45010FE8-BF09-4146-B084-66CB05B66FD9}"/>
          </ac:spMkLst>
        </pc:spChg>
        <pc:spChg chg="mod">
          <ac:chgData name="Ajit Kotwal" userId="781b8ab5-6f9a-4511-aed5-b50cf9e67252" providerId="ADAL" clId="{27E91C08-3CA6-4129-AF6E-449EA40E5C4F}" dt="2021-02-13T15:12:09.518" v="4941" actId="20577"/>
          <ac:spMkLst>
            <pc:docMk/>
            <pc:sldMk cId="2981688304" sldId="10282"/>
            <ac:spMk id="11" creationId="{76583F2C-13BC-4FA8-A9DE-F1F764C38F10}"/>
          </ac:spMkLst>
        </pc:spChg>
        <pc:spChg chg="mod">
          <ac:chgData name="Ajit Kotwal" userId="781b8ab5-6f9a-4511-aed5-b50cf9e67252" providerId="ADAL" clId="{27E91C08-3CA6-4129-AF6E-449EA40E5C4F}" dt="2021-02-13T15:12:19.965" v="4943" actId="20577"/>
          <ac:spMkLst>
            <pc:docMk/>
            <pc:sldMk cId="2981688304" sldId="10282"/>
            <ac:spMk id="15" creationId="{BDD64BFD-7ED9-4476-ABC3-6BBAC4A275B2}"/>
          </ac:spMkLst>
        </pc:spChg>
      </pc:sldChg>
      <pc:sldChg chg="addSp modSp add mod">
        <pc:chgData name="Ajit Kotwal" userId="781b8ab5-6f9a-4511-aed5-b50cf9e67252" providerId="ADAL" clId="{27E91C08-3CA6-4129-AF6E-449EA40E5C4F}" dt="2021-02-15T08:40:12.667" v="9473" actId="1076"/>
        <pc:sldMkLst>
          <pc:docMk/>
          <pc:sldMk cId="371622776" sldId="10283"/>
        </pc:sldMkLst>
        <pc:spChg chg="mod">
          <ac:chgData name="Ajit Kotwal" userId="781b8ab5-6f9a-4511-aed5-b50cf9e67252" providerId="ADAL" clId="{27E91C08-3CA6-4129-AF6E-449EA40E5C4F}" dt="2021-02-13T15:46:55.159" v="4957" actId="20577"/>
          <ac:spMkLst>
            <pc:docMk/>
            <pc:sldMk cId="371622776" sldId="10283"/>
            <ac:spMk id="2" creationId="{11981002-9C29-43DD-9EFC-331DD8486892}"/>
          </ac:spMkLst>
        </pc:spChg>
        <pc:spChg chg="add mod">
          <ac:chgData name="Ajit Kotwal" userId="781b8ab5-6f9a-4511-aed5-b50cf9e67252" providerId="ADAL" clId="{27E91C08-3CA6-4129-AF6E-449EA40E5C4F}" dt="2021-02-15T08:40:12.667" v="9473" actId="1076"/>
          <ac:spMkLst>
            <pc:docMk/>
            <pc:sldMk cId="371622776" sldId="10283"/>
            <ac:spMk id="3" creationId="{620EA2DE-E1D7-4D44-8893-F7727651E1E2}"/>
          </ac:spMkLst>
        </pc:spChg>
        <pc:graphicFrameChg chg="mod">
          <ac:chgData name="Ajit Kotwal" userId="781b8ab5-6f9a-4511-aed5-b50cf9e67252" providerId="ADAL" clId="{27E91C08-3CA6-4129-AF6E-449EA40E5C4F}" dt="2021-02-13T16:06:09.304" v="5983" actId="20577"/>
          <ac:graphicFrameMkLst>
            <pc:docMk/>
            <pc:sldMk cId="371622776" sldId="10283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15T08:39:11.406" v="9440" actId="20577"/>
          <ac:graphicFrameMkLst>
            <pc:docMk/>
            <pc:sldMk cId="371622776" sldId="10283"/>
            <ac:graphicFrameMk id="12" creationId="{0BA42EE4-2131-467C-8AC6-CFACB976FC9C}"/>
          </ac:graphicFrameMkLst>
        </pc:graphicFrameChg>
      </pc:sldChg>
      <pc:sldChg chg="addSp modSp add mod modCm">
        <pc:chgData name="Ajit Kotwal" userId="781b8ab5-6f9a-4511-aed5-b50cf9e67252" providerId="ADAL" clId="{27E91C08-3CA6-4129-AF6E-449EA40E5C4F}" dt="2021-02-15T09:56:07.726" v="9492"/>
        <pc:sldMkLst>
          <pc:docMk/>
          <pc:sldMk cId="503916700" sldId="10284"/>
        </pc:sldMkLst>
        <pc:spChg chg="mod">
          <ac:chgData name="Ajit Kotwal" userId="781b8ab5-6f9a-4511-aed5-b50cf9e67252" providerId="ADAL" clId="{27E91C08-3CA6-4129-AF6E-449EA40E5C4F}" dt="2021-02-13T16:11:59.733" v="6245" actId="20577"/>
          <ac:spMkLst>
            <pc:docMk/>
            <pc:sldMk cId="503916700" sldId="10284"/>
            <ac:spMk id="2" creationId="{11981002-9C29-43DD-9EFC-331DD8486892}"/>
          </ac:spMkLst>
        </pc:spChg>
        <pc:spChg chg="add mod">
          <ac:chgData name="Ajit Kotwal" userId="781b8ab5-6f9a-4511-aed5-b50cf9e67252" providerId="ADAL" clId="{27E91C08-3CA6-4129-AF6E-449EA40E5C4F}" dt="2021-02-15T08:40:55.348" v="9487" actId="20577"/>
          <ac:spMkLst>
            <pc:docMk/>
            <pc:sldMk cId="503916700" sldId="10284"/>
            <ac:spMk id="3" creationId="{DA94628A-BB50-4D6E-9E51-5181208D8FFD}"/>
          </ac:spMkLst>
        </pc:spChg>
        <pc:graphicFrameChg chg="mod">
          <ac:chgData name="Ajit Kotwal" userId="781b8ab5-6f9a-4511-aed5-b50cf9e67252" providerId="ADAL" clId="{27E91C08-3CA6-4129-AF6E-449EA40E5C4F}" dt="2021-02-14T09:54:10.272" v="7252" actId="20577"/>
          <ac:graphicFrameMkLst>
            <pc:docMk/>
            <pc:sldMk cId="503916700" sldId="10284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15T09:56:00.297" v="9491" actId="20577"/>
          <ac:graphicFrameMkLst>
            <pc:docMk/>
            <pc:sldMk cId="503916700" sldId="10284"/>
            <ac:graphicFrameMk id="12" creationId="{0BA42EE4-2131-467C-8AC6-CFACB976FC9C}"/>
          </ac:graphicFrameMkLst>
        </pc:graphicFrameChg>
      </pc:sldChg>
      <pc:sldChg chg="modSp add mod">
        <pc:chgData name="Ajit Kotwal" userId="781b8ab5-6f9a-4511-aed5-b50cf9e67252" providerId="ADAL" clId="{27E91C08-3CA6-4129-AF6E-449EA40E5C4F}" dt="2021-02-14T11:09:12.434" v="8391" actId="20577"/>
        <pc:sldMkLst>
          <pc:docMk/>
          <pc:sldMk cId="2606447300" sldId="10285"/>
        </pc:sldMkLst>
        <pc:spChg chg="mod">
          <ac:chgData name="Ajit Kotwal" userId="781b8ab5-6f9a-4511-aed5-b50cf9e67252" providerId="ADAL" clId="{27E91C08-3CA6-4129-AF6E-449EA40E5C4F}" dt="2021-02-14T10:17:08.159" v="7935" actId="20577"/>
          <ac:spMkLst>
            <pc:docMk/>
            <pc:sldMk cId="2606447300" sldId="10285"/>
            <ac:spMk id="2" creationId="{11981002-9C29-43DD-9EFC-331DD8486892}"/>
          </ac:spMkLst>
        </pc:spChg>
        <pc:graphicFrameChg chg="mod">
          <ac:chgData name="Ajit Kotwal" userId="781b8ab5-6f9a-4511-aed5-b50cf9e67252" providerId="ADAL" clId="{27E91C08-3CA6-4129-AF6E-449EA40E5C4F}" dt="2021-02-14T10:55:00.987" v="8247" actId="20577"/>
          <ac:graphicFrameMkLst>
            <pc:docMk/>
            <pc:sldMk cId="2606447300" sldId="10285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14T11:09:12.434" v="8391" actId="20577"/>
          <ac:graphicFrameMkLst>
            <pc:docMk/>
            <pc:sldMk cId="2606447300" sldId="10285"/>
            <ac:graphicFrameMk id="12" creationId="{0BA42EE4-2131-467C-8AC6-CFACB976FC9C}"/>
          </ac:graphicFrameMkLst>
        </pc:graphicFrameChg>
      </pc:sldChg>
      <pc:sldChg chg="modSp add mod">
        <pc:chgData name="Ajit Kotwal" userId="781b8ab5-6f9a-4511-aed5-b50cf9e67252" providerId="ADAL" clId="{27E91C08-3CA6-4129-AF6E-449EA40E5C4F}" dt="2021-02-14T18:51:13.071" v="9436" actId="20577"/>
        <pc:sldMkLst>
          <pc:docMk/>
          <pc:sldMk cId="3619002474" sldId="10286"/>
        </pc:sldMkLst>
        <pc:spChg chg="mod">
          <ac:chgData name="Ajit Kotwal" userId="781b8ab5-6f9a-4511-aed5-b50cf9e67252" providerId="ADAL" clId="{27E91C08-3CA6-4129-AF6E-449EA40E5C4F}" dt="2021-02-14T18:39:30.110" v="8533" actId="20577"/>
          <ac:spMkLst>
            <pc:docMk/>
            <pc:sldMk cId="3619002474" sldId="10286"/>
            <ac:spMk id="2" creationId="{11981002-9C29-43DD-9EFC-331DD8486892}"/>
          </ac:spMkLst>
        </pc:spChg>
        <pc:graphicFrameChg chg="mod">
          <ac:chgData name="Ajit Kotwal" userId="781b8ab5-6f9a-4511-aed5-b50cf9e67252" providerId="ADAL" clId="{27E91C08-3CA6-4129-AF6E-449EA40E5C4F}" dt="2021-02-14T18:49:40.133" v="9357" actId="20577"/>
          <ac:graphicFrameMkLst>
            <pc:docMk/>
            <pc:sldMk cId="3619002474" sldId="10286"/>
            <ac:graphicFrameMk id="8" creationId="{9C3FA538-2EEB-4441-958F-8EEC1522DF33}"/>
          </ac:graphicFrameMkLst>
        </pc:graphicFrameChg>
        <pc:graphicFrameChg chg="mod">
          <ac:chgData name="Ajit Kotwal" userId="781b8ab5-6f9a-4511-aed5-b50cf9e67252" providerId="ADAL" clId="{27E91C08-3CA6-4129-AF6E-449EA40E5C4F}" dt="2021-02-14T18:51:13.071" v="9436" actId="20577"/>
          <ac:graphicFrameMkLst>
            <pc:docMk/>
            <pc:sldMk cId="3619002474" sldId="10286"/>
            <ac:graphicFrameMk id="12" creationId="{0BA42EE4-2131-467C-8AC6-CFACB976FC9C}"/>
          </ac:graphicFrameMkLst>
        </pc:graphicFrameChg>
      </pc:sldChg>
    </pc:docChg>
  </pc:docChgLst>
  <pc:docChgLst>
    <pc:chgData name="Ajit Kotwal" userId="S::ajkotwal@microsoft.com::781b8ab5-6f9a-4511-aed5-b50cf9e67252" providerId="AD" clId="Web-{8C6BD33A-074B-4BD2-839C-21A372737924}"/>
    <pc:docChg chg="modSld">
      <pc:chgData name="Ajit Kotwal" userId="S::ajkotwal@microsoft.com::781b8ab5-6f9a-4511-aed5-b50cf9e67252" providerId="AD" clId="Web-{8C6BD33A-074B-4BD2-839C-21A372737924}" dt="2021-02-14T18:25:07.157" v="29" actId="20577"/>
      <pc:docMkLst>
        <pc:docMk/>
      </pc:docMkLst>
      <pc:sldChg chg="modSp">
        <pc:chgData name="Ajit Kotwal" userId="S::ajkotwal@microsoft.com::781b8ab5-6f9a-4511-aed5-b50cf9e67252" providerId="AD" clId="Web-{8C6BD33A-074B-4BD2-839C-21A372737924}" dt="2021-02-14T18:25:07.157" v="29" actId="20577"/>
        <pc:sldMkLst>
          <pc:docMk/>
          <pc:sldMk cId="1247591511" sldId="10243"/>
        </pc:sldMkLst>
        <pc:spChg chg="mod">
          <ac:chgData name="Ajit Kotwal" userId="S::ajkotwal@microsoft.com::781b8ab5-6f9a-4511-aed5-b50cf9e67252" providerId="AD" clId="Web-{8C6BD33A-074B-4BD2-839C-21A372737924}" dt="2021-02-14T18:25:07.157" v="29" actId="20577"/>
          <ac:spMkLst>
            <pc:docMk/>
            <pc:sldMk cId="1247591511" sldId="10243"/>
            <ac:spMk id="15" creationId="{BDD64BFD-7ED9-4476-ABC3-6BBAC4A275B2}"/>
          </ac:spMkLst>
        </pc:spChg>
      </pc:sldChg>
    </pc:docChg>
  </pc:docChgLst>
  <pc:docChgLst>
    <pc:chgData name="Ajit Kotwal" userId="S::ajkotwal@microsoft.com::781b8ab5-6f9a-4511-aed5-b50cf9e67252" providerId="AD" clId="Web-{2BD63F91-0FD0-4B47-A562-A1AB84655481}"/>
    <pc:docChg chg="mod">
      <pc:chgData name="Ajit Kotwal" userId="S::ajkotwal@microsoft.com::781b8ab5-6f9a-4511-aed5-b50cf9e67252" providerId="AD" clId="Web-{2BD63F91-0FD0-4B47-A562-A1AB84655481}" dt="2021-02-08T15:49:34.281" v="2"/>
      <pc:docMkLst>
        <pc:docMk/>
      </pc:docMkLst>
      <pc:sldChg chg="modCm">
        <pc:chgData name="Ajit Kotwal" userId="S::ajkotwal@microsoft.com::781b8ab5-6f9a-4511-aed5-b50cf9e67252" providerId="AD" clId="Web-{2BD63F91-0FD0-4B47-A562-A1AB84655481}" dt="2021-02-08T15:49:34.281" v="2"/>
        <pc:sldMkLst>
          <pc:docMk/>
          <pc:sldMk cId="1094870920" sldId="1735"/>
        </pc:sldMkLst>
      </pc:sldChg>
    </pc:docChg>
  </pc:docChgLst>
  <pc:docChgLst>
    <pc:chgData name="Kuntal Ghoshal" userId="S::kughosha@microsoft.com::9365114f-3662-492a-8f44-5af3c15a2194" providerId="AD" clId="Web-{05966ADD-691D-8683-DAF2-D15446A2B1FF}"/>
    <pc:docChg chg="mod modSld">
      <pc:chgData name="Kuntal Ghoshal" userId="S::kughosha@microsoft.com::9365114f-3662-492a-8f44-5af3c15a2194" providerId="AD" clId="Web-{05966ADD-691D-8683-DAF2-D15446A2B1FF}" dt="2021-02-08T06:32:26.250" v="11"/>
      <pc:docMkLst>
        <pc:docMk/>
      </pc:docMkLst>
      <pc:sldChg chg="modSp addCm">
        <pc:chgData name="Kuntal Ghoshal" userId="S::kughosha@microsoft.com::9365114f-3662-492a-8f44-5af3c15a2194" providerId="AD" clId="Web-{05966ADD-691D-8683-DAF2-D15446A2B1FF}" dt="2021-02-08T06:09:07.580" v="4"/>
        <pc:sldMkLst>
          <pc:docMk/>
          <pc:sldMk cId="1094870920" sldId="1735"/>
        </pc:sldMkLst>
        <pc:cxnChg chg="mod">
          <ac:chgData name="Kuntal Ghoshal" userId="S::kughosha@microsoft.com::9365114f-3662-492a-8f44-5af3c15a2194" providerId="AD" clId="Web-{05966ADD-691D-8683-DAF2-D15446A2B1FF}" dt="2021-02-08T06:07:57.233" v="1" actId="1076"/>
          <ac:cxnSpMkLst>
            <pc:docMk/>
            <pc:sldMk cId="1094870920" sldId="1735"/>
            <ac:cxnSpMk id="49" creationId="{F03F52E1-9D12-4CD8-9AFB-DF3694F8E8DF}"/>
          </ac:cxnSpMkLst>
        </pc:cxnChg>
      </pc:sldChg>
      <pc:sldChg chg="modCm">
        <pc:chgData name="Kuntal Ghoshal" userId="S::kughosha@microsoft.com::9365114f-3662-492a-8f44-5af3c15a2194" providerId="AD" clId="Web-{05966ADD-691D-8683-DAF2-D15446A2B1FF}" dt="2021-02-08T06:28:20.613" v="9"/>
        <pc:sldMkLst>
          <pc:docMk/>
          <pc:sldMk cId="2694433332" sldId="10224"/>
        </pc:sldMkLst>
      </pc:sldChg>
      <pc:sldChg chg="modCm">
        <pc:chgData name="Kuntal Ghoshal" userId="S::kughosha@microsoft.com::9365114f-3662-492a-8f44-5af3c15a2194" providerId="AD" clId="Web-{05966ADD-691D-8683-DAF2-D15446A2B1FF}" dt="2021-02-08T06:24:04.803" v="8"/>
        <pc:sldMkLst>
          <pc:docMk/>
          <pc:sldMk cId="3869426496" sldId="10238"/>
        </pc:sldMkLst>
      </pc:sldChg>
      <pc:sldChg chg="modCm">
        <pc:chgData name="Kuntal Ghoshal" userId="S::kughosha@microsoft.com::9365114f-3662-492a-8f44-5af3c15a2194" providerId="AD" clId="Web-{05966ADD-691D-8683-DAF2-D15446A2B1FF}" dt="2021-02-08T06:13:07.187" v="6"/>
        <pc:sldMkLst>
          <pc:docMk/>
          <pc:sldMk cId="1247591511" sldId="10243"/>
        </pc:sldMkLst>
      </pc:sldChg>
      <pc:sldChg chg="addCm">
        <pc:chgData name="Kuntal Ghoshal" userId="S::kughosha@microsoft.com::9365114f-3662-492a-8f44-5af3c15a2194" providerId="AD" clId="Web-{05966ADD-691D-8683-DAF2-D15446A2B1FF}" dt="2021-02-08T06:14:13.816" v="7"/>
        <pc:sldMkLst>
          <pc:docMk/>
          <pc:sldMk cId="2495781146" sldId="10244"/>
        </pc:sldMkLst>
      </pc:sldChg>
      <pc:sldChg chg="addCm">
        <pc:chgData name="Kuntal Ghoshal" userId="S::kughosha@microsoft.com::9365114f-3662-492a-8f44-5af3c15a2194" providerId="AD" clId="Web-{05966ADD-691D-8683-DAF2-D15446A2B1FF}" dt="2021-02-08T06:32:26.250" v="11"/>
        <pc:sldMkLst>
          <pc:docMk/>
          <pc:sldMk cId="3549929259" sldId="10256"/>
        </pc:sldMkLst>
      </pc:sldChg>
      <pc:sldChg chg="addCm">
        <pc:chgData name="Kuntal Ghoshal" userId="S::kughosha@microsoft.com::9365114f-3662-492a-8f44-5af3c15a2194" providerId="AD" clId="Web-{05966ADD-691D-8683-DAF2-D15446A2B1FF}" dt="2021-02-08T06:30:23.260" v="10"/>
        <pc:sldMkLst>
          <pc:docMk/>
          <pc:sldMk cId="706792741" sldId="10259"/>
        </pc:sldMkLst>
      </pc:sldChg>
    </pc:docChg>
  </pc:docChgLst>
  <pc:docChgLst>
    <pc:chgData name="Ajit Kotwal" userId="781b8ab5-6f9a-4511-aed5-b50cf9e67252" providerId="ADAL" clId="{B7EE4DDD-33DF-4ECC-B9D1-B5112552FCBE}"/>
    <pc:docChg chg="custSel delSld modSld modSection">
      <pc:chgData name="Ajit Kotwal" userId="781b8ab5-6f9a-4511-aed5-b50cf9e67252" providerId="ADAL" clId="{B7EE4DDD-33DF-4ECC-B9D1-B5112552FCBE}" dt="2021-05-07T16:38:55.104" v="370" actId="1076"/>
      <pc:docMkLst>
        <pc:docMk/>
      </pc:docMkLst>
      <pc:sldChg chg="modSp mod delCm">
        <pc:chgData name="Ajit Kotwal" userId="781b8ab5-6f9a-4511-aed5-b50cf9e67252" providerId="ADAL" clId="{B7EE4DDD-33DF-4ECC-B9D1-B5112552FCBE}" dt="2021-05-07T15:54:16.310" v="275" actId="20577"/>
        <pc:sldMkLst>
          <pc:docMk/>
          <pc:sldMk cId="1094870920" sldId="1735"/>
        </pc:sldMkLst>
        <pc:spChg chg="mod">
          <ac:chgData name="Ajit Kotwal" userId="781b8ab5-6f9a-4511-aed5-b50cf9e67252" providerId="ADAL" clId="{B7EE4DDD-33DF-4ECC-B9D1-B5112552FCBE}" dt="2021-05-07T15:54:16.310" v="275" actId="20577"/>
          <ac:spMkLst>
            <pc:docMk/>
            <pc:sldMk cId="1094870920" sldId="1735"/>
            <ac:spMk id="41" creationId="{177907F9-2172-46A3-AEA0-8DD4122F217B}"/>
          </ac:spMkLst>
        </pc:spChg>
      </pc:sldChg>
      <pc:sldChg chg="delCm">
        <pc:chgData name="Ajit Kotwal" userId="781b8ab5-6f9a-4511-aed5-b50cf9e67252" providerId="ADAL" clId="{B7EE4DDD-33DF-4ECC-B9D1-B5112552FCBE}" dt="2021-05-07T15:38:40.807" v="8"/>
        <pc:sldMkLst>
          <pc:docMk/>
          <pc:sldMk cId="2694433332" sldId="10224"/>
        </pc:sldMkLst>
      </pc:sldChg>
      <pc:sldChg chg="modSp mod delCm modCm">
        <pc:chgData name="Ajit Kotwal" userId="781b8ab5-6f9a-4511-aed5-b50cf9e67252" providerId="ADAL" clId="{B7EE4DDD-33DF-4ECC-B9D1-B5112552FCBE}" dt="2021-05-07T15:57:58.847" v="343" actId="6549"/>
        <pc:sldMkLst>
          <pc:docMk/>
          <pc:sldMk cId="3869426496" sldId="10238"/>
        </pc:sldMkLst>
        <pc:spChg chg="mod">
          <ac:chgData name="Ajit Kotwal" userId="781b8ab5-6f9a-4511-aed5-b50cf9e67252" providerId="ADAL" clId="{B7EE4DDD-33DF-4ECC-B9D1-B5112552FCBE}" dt="2021-05-07T15:57:58.847" v="343" actId="6549"/>
          <ac:spMkLst>
            <pc:docMk/>
            <pc:sldMk cId="3869426496" sldId="10238"/>
            <ac:spMk id="11" creationId="{76583F2C-13BC-4FA8-A9DE-F1F764C38F10}"/>
          </ac:spMkLst>
        </pc:spChg>
      </pc:sldChg>
      <pc:sldChg chg="modSp mod">
        <pc:chgData name="Ajit Kotwal" userId="781b8ab5-6f9a-4511-aed5-b50cf9e67252" providerId="ADAL" clId="{B7EE4DDD-33DF-4ECC-B9D1-B5112552FCBE}" dt="2021-05-07T15:42:09.024" v="38" actId="13926"/>
        <pc:sldMkLst>
          <pc:docMk/>
          <pc:sldMk cId="1764450474" sldId="10239"/>
        </pc:sldMkLst>
        <pc:spChg chg="mod">
          <ac:chgData name="Ajit Kotwal" userId="781b8ab5-6f9a-4511-aed5-b50cf9e67252" providerId="ADAL" clId="{B7EE4DDD-33DF-4ECC-B9D1-B5112552FCBE}" dt="2021-05-07T15:42:09.024" v="38" actId="13926"/>
          <ac:spMkLst>
            <pc:docMk/>
            <pc:sldMk cId="1764450474" sldId="10239"/>
            <ac:spMk id="35" creationId="{82583F54-FD2D-4CF8-9F12-0C897B1000EF}"/>
          </ac:spMkLst>
        </pc:spChg>
      </pc:sldChg>
      <pc:sldChg chg="delCm">
        <pc:chgData name="Ajit Kotwal" userId="781b8ab5-6f9a-4511-aed5-b50cf9e67252" providerId="ADAL" clId="{B7EE4DDD-33DF-4ECC-B9D1-B5112552FCBE}" dt="2021-05-07T15:37:52.086" v="3"/>
        <pc:sldMkLst>
          <pc:docMk/>
          <pc:sldMk cId="1247591511" sldId="10243"/>
        </pc:sldMkLst>
      </pc:sldChg>
      <pc:sldChg chg="addSp delSp modSp mod delCm">
        <pc:chgData name="Ajit Kotwal" userId="781b8ab5-6f9a-4511-aed5-b50cf9e67252" providerId="ADAL" clId="{B7EE4DDD-33DF-4ECC-B9D1-B5112552FCBE}" dt="2021-05-07T16:35:55.238" v="365" actId="1076"/>
        <pc:sldMkLst>
          <pc:docMk/>
          <pc:sldMk cId="2495781146" sldId="10244"/>
        </pc:sldMkLst>
        <pc:picChg chg="add del mod">
          <ac:chgData name="Ajit Kotwal" userId="781b8ab5-6f9a-4511-aed5-b50cf9e67252" providerId="ADAL" clId="{B7EE4DDD-33DF-4ECC-B9D1-B5112552FCBE}" dt="2021-05-07T16:34:33.128" v="354" actId="478"/>
          <ac:picMkLst>
            <pc:docMk/>
            <pc:sldMk cId="2495781146" sldId="10244"/>
            <ac:picMk id="5" creationId="{4E1DB13D-D607-4214-9241-FDF13A85D383}"/>
          </ac:picMkLst>
        </pc:picChg>
        <pc:picChg chg="add del mod">
          <ac:chgData name="Ajit Kotwal" userId="781b8ab5-6f9a-4511-aed5-b50cf9e67252" providerId="ADAL" clId="{B7EE4DDD-33DF-4ECC-B9D1-B5112552FCBE}" dt="2021-05-07T16:35:10.646" v="360" actId="478"/>
          <ac:picMkLst>
            <pc:docMk/>
            <pc:sldMk cId="2495781146" sldId="10244"/>
            <ac:picMk id="7" creationId="{AC089CE7-8066-43AA-A61F-041784B58F57}"/>
          </ac:picMkLst>
        </pc:picChg>
        <pc:picChg chg="add mod">
          <ac:chgData name="Ajit Kotwal" userId="781b8ab5-6f9a-4511-aed5-b50cf9e67252" providerId="ADAL" clId="{B7EE4DDD-33DF-4ECC-B9D1-B5112552FCBE}" dt="2021-05-07T16:35:55.238" v="365" actId="1076"/>
          <ac:picMkLst>
            <pc:docMk/>
            <pc:sldMk cId="2495781146" sldId="10244"/>
            <ac:picMk id="10" creationId="{4E5E4D04-A5B1-40E9-99C9-7F06769E763C}"/>
          </ac:picMkLst>
        </pc:picChg>
        <pc:picChg chg="del">
          <ac:chgData name="Ajit Kotwal" userId="781b8ab5-6f9a-4511-aed5-b50cf9e67252" providerId="ADAL" clId="{B7EE4DDD-33DF-4ECC-B9D1-B5112552FCBE}" dt="2021-05-07T16:27:01.015" v="346" actId="478"/>
          <ac:picMkLst>
            <pc:docMk/>
            <pc:sldMk cId="2495781146" sldId="10244"/>
            <ac:picMk id="20" creationId="{B28CF6E5-11A5-4568-8621-C0E2C870D390}"/>
          </ac:picMkLst>
        </pc:picChg>
      </pc:sldChg>
      <pc:sldChg chg="addSp delSp modSp mod delCm">
        <pc:chgData name="Ajit Kotwal" userId="781b8ab5-6f9a-4511-aed5-b50cf9e67252" providerId="ADAL" clId="{B7EE4DDD-33DF-4ECC-B9D1-B5112552FCBE}" dt="2021-05-07T16:38:55.104" v="370" actId="1076"/>
        <pc:sldMkLst>
          <pc:docMk/>
          <pc:sldMk cId="1090235674" sldId="10247"/>
        </pc:sldMkLst>
        <pc:picChg chg="add mod">
          <ac:chgData name="Ajit Kotwal" userId="781b8ab5-6f9a-4511-aed5-b50cf9e67252" providerId="ADAL" clId="{B7EE4DDD-33DF-4ECC-B9D1-B5112552FCBE}" dt="2021-05-07T16:38:55.104" v="370" actId="1076"/>
          <ac:picMkLst>
            <pc:docMk/>
            <pc:sldMk cId="1090235674" sldId="10247"/>
            <ac:picMk id="5" creationId="{C209E981-42FC-480A-AAF1-D94E0730CDE4}"/>
          </ac:picMkLst>
        </pc:picChg>
        <pc:picChg chg="del mod">
          <ac:chgData name="Ajit Kotwal" userId="781b8ab5-6f9a-4511-aed5-b50cf9e67252" providerId="ADAL" clId="{B7EE4DDD-33DF-4ECC-B9D1-B5112552FCBE}" dt="2021-05-07T16:38:41.649" v="367" actId="478"/>
          <ac:picMkLst>
            <pc:docMk/>
            <pc:sldMk cId="1090235674" sldId="10247"/>
            <ac:picMk id="24" creationId="{B4A20AE3-0C1D-4EFD-A32A-C5D48C939811}"/>
          </ac:picMkLst>
        </pc:picChg>
      </pc:sldChg>
      <pc:sldChg chg="modSp mod modNotesTx">
        <pc:chgData name="Ajit Kotwal" userId="781b8ab5-6f9a-4511-aed5-b50cf9e67252" providerId="ADAL" clId="{B7EE4DDD-33DF-4ECC-B9D1-B5112552FCBE}" dt="2021-05-07T16:01:00.822" v="345" actId="20577"/>
        <pc:sldMkLst>
          <pc:docMk/>
          <pc:sldMk cId="3655946138" sldId="10248"/>
        </pc:sldMkLst>
        <pc:spChg chg="mod">
          <ac:chgData name="Ajit Kotwal" userId="781b8ab5-6f9a-4511-aed5-b50cf9e67252" providerId="ADAL" clId="{B7EE4DDD-33DF-4ECC-B9D1-B5112552FCBE}" dt="2021-05-07T16:01:00.822" v="345" actId="20577"/>
          <ac:spMkLst>
            <pc:docMk/>
            <pc:sldMk cId="3655946138" sldId="10248"/>
            <ac:spMk id="48" creationId="{EC1991FE-22CA-4473-8132-A42D261176C3}"/>
          </ac:spMkLst>
        </pc:spChg>
      </pc:sldChg>
      <pc:sldChg chg="modSp mod">
        <pc:chgData name="Ajit Kotwal" userId="781b8ab5-6f9a-4511-aed5-b50cf9e67252" providerId="ADAL" clId="{B7EE4DDD-33DF-4ECC-B9D1-B5112552FCBE}" dt="2021-05-07T15:48:34.792" v="46" actId="20577"/>
        <pc:sldMkLst>
          <pc:docMk/>
          <pc:sldMk cId="2437523513" sldId="10249"/>
        </pc:sldMkLst>
        <pc:spChg chg="mod">
          <ac:chgData name="Ajit Kotwal" userId="781b8ab5-6f9a-4511-aed5-b50cf9e67252" providerId="ADAL" clId="{B7EE4DDD-33DF-4ECC-B9D1-B5112552FCBE}" dt="2021-05-07T15:48:34.792" v="46" actId="20577"/>
          <ac:spMkLst>
            <pc:docMk/>
            <pc:sldMk cId="2437523513" sldId="10249"/>
            <ac:spMk id="15" creationId="{BDD64BFD-7ED9-4476-ABC3-6BBAC4A275B2}"/>
          </ac:spMkLst>
        </pc:spChg>
      </pc:sldChg>
      <pc:sldChg chg="del delCm">
        <pc:chgData name="Ajit Kotwal" userId="781b8ab5-6f9a-4511-aed5-b50cf9e67252" providerId="ADAL" clId="{B7EE4DDD-33DF-4ECC-B9D1-B5112552FCBE}" dt="2021-05-07T15:47:38.203" v="39" actId="47"/>
        <pc:sldMkLst>
          <pc:docMk/>
          <pc:sldMk cId="706792741" sldId="10259"/>
        </pc:sldMkLst>
      </pc:sldChg>
      <pc:sldChg chg="del delCm modCm">
        <pc:chgData name="Ajit Kotwal" userId="781b8ab5-6f9a-4511-aed5-b50cf9e67252" providerId="ADAL" clId="{B7EE4DDD-33DF-4ECC-B9D1-B5112552FCBE}" dt="2021-05-07T15:41:54.123" v="37" actId="47"/>
        <pc:sldMkLst>
          <pc:docMk/>
          <pc:sldMk cId="3979634199" sldId="10260"/>
        </pc:sldMkLst>
      </pc:sldChg>
      <pc:sldChg chg="modSp del mod delCm modCm">
        <pc:chgData name="Ajit Kotwal" userId="781b8ab5-6f9a-4511-aed5-b50cf9e67252" providerId="ADAL" clId="{B7EE4DDD-33DF-4ECC-B9D1-B5112552FCBE}" dt="2021-05-07T15:47:58.868" v="42" actId="47"/>
        <pc:sldMkLst>
          <pc:docMk/>
          <pc:sldMk cId="1419640178" sldId="10261"/>
        </pc:sldMkLst>
        <pc:graphicFrameChg chg="modGraphic">
          <ac:chgData name="Ajit Kotwal" userId="781b8ab5-6f9a-4511-aed5-b50cf9e67252" providerId="ADAL" clId="{B7EE4DDD-33DF-4ECC-B9D1-B5112552FCBE}" dt="2021-05-07T15:40:10.312" v="29" actId="20577"/>
          <ac:graphicFrameMkLst>
            <pc:docMk/>
            <pc:sldMk cId="1419640178" sldId="10261"/>
            <ac:graphicFrameMk id="12" creationId="{0BA42EE4-2131-467C-8AC6-CFACB976FC9C}"/>
          </ac:graphicFrameMkLst>
        </pc:graphicFrameChg>
      </pc:sldChg>
      <pc:sldChg chg="del">
        <pc:chgData name="Ajit Kotwal" userId="781b8ab5-6f9a-4511-aed5-b50cf9e67252" providerId="ADAL" clId="{B7EE4DDD-33DF-4ECC-B9D1-B5112552FCBE}" dt="2021-05-07T15:48:05.528" v="43" actId="47"/>
        <pc:sldMkLst>
          <pc:docMk/>
          <pc:sldMk cId="2361702661" sldId="10262"/>
        </pc:sldMkLst>
      </pc:sldChg>
      <pc:sldChg chg="del">
        <pc:chgData name="Ajit Kotwal" userId="781b8ab5-6f9a-4511-aed5-b50cf9e67252" providerId="ADAL" clId="{B7EE4DDD-33DF-4ECC-B9D1-B5112552FCBE}" dt="2021-05-07T15:49:09.922" v="49" actId="47"/>
        <pc:sldMkLst>
          <pc:docMk/>
          <pc:sldMk cId="3865687768" sldId="10263"/>
        </pc:sldMkLst>
      </pc:sldChg>
      <pc:sldChg chg="del delCm">
        <pc:chgData name="Ajit Kotwal" userId="781b8ab5-6f9a-4511-aed5-b50cf9e67252" providerId="ADAL" clId="{B7EE4DDD-33DF-4ECC-B9D1-B5112552FCBE}" dt="2021-05-07T15:47:44.976" v="40" actId="47"/>
        <pc:sldMkLst>
          <pc:docMk/>
          <pc:sldMk cId="221291899" sldId="10264"/>
        </pc:sldMkLst>
      </pc:sldChg>
      <pc:sldChg chg="modSp mod">
        <pc:chgData name="Ajit Kotwal" userId="781b8ab5-6f9a-4511-aed5-b50cf9e67252" providerId="ADAL" clId="{B7EE4DDD-33DF-4ECC-B9D1-B5112552FCBE}" dt="2021-05-07T15:48:42.778" v="47" actId="20577"/>
        <pc:sldMkLst>
          <pc:docMk/>
          <pc:sldMk cId="2263370975" sldId="10274"/>
        </pc:sldMkLst>
        <pc:spChg chg="mod">
          <ac:chgData name="Ajit Kotwal" userId="781b8ab5-6f9a-4511-aed5-b50cf9e67252" providerId="ADAL" clId="{B7EE4DDD-33DF-4ECC-B9D1-B5112552FCBE}" dt="2021-05-07T15:48:42.778" v="47" actId="20577"/>
          <ac:spMkLst>
            <pc:docMk/>
            <pc:sldMk cId="2263370975" sldId="10274"/>
            <ac:spMk id="15" creationId="{BDD64BFD-7ED9-4476-ABC3-6BBAC4A275B2}"/>
          </ac:spMkLst>
        </pc:spChg>
      </pc:sldChg>
      <pc:sldChg chg="del">
        <pc:chgData name="Ajit Kotwal" userId="781b8ab5-6f9a-4511-aed5-b50cf9e67252" providerId="ADAL" clId="{B7EE4DDD-33DF-4ECC-B9D1-B5112552FCBE}" dt="2021-05-07T15:47:48.661" v="41" actId="47"/>
        <pc:sldMkLst>
          <pc:docMk/>
          <pc:sldMk cId="1648800858" sldId="10275"/>
        </pc:sldMkLst>
      </pc:sldChg>
      <pc:sldChg chg="modSp mod">
        <pc:chgData name="Ajit Kotwal" userId="781b8ab5-6f9a-4511-aed5-b50cf9e67252" providerId="ADAL" clId="{B7EE4DDD-33DF-4ECC-B9D1-B5112552FCBE}" dt="2021-05-07T15:48:24.698" v="45" actId="6549"/>
        <pc:sldMkLst>
          <pc:docMk/>
          <pc:sldMk cId="2466818646" sldId="10276"/>
        </pc:sldMkLst>
        <pc:spChg chg="mod">
          <ac:chgData name="Ajit Kotwal" userId="781b8ab5-6f9a-4511-aed5-b50cf9e67252" providerId="ADAL" clId="{B7EE4DDD-33DF-4ECC-B9D1-B5112552FCBE}" dt="2021-05-07T15:48:24.698" v="45" actId="6549"/>
          <ac:spMkLst>
            <pc:docMk/>
            <pc:sldMk cId="2466818646" sldId="10276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8:16.410" v="44" actId="6549"/>
        <pc:sldMkLst>
          <pc:docMk/>
          <pc:sldMk cId="397174415" sldId="10277"/>
        </pc:sldMkLst>
        <pc:spChg chg="mod">
          <ac:chgData name="Ajit Kotwal" userId="781b8ab5-6f9a-4511-aed5-b50cf9e67252" providerId="ADAL" clId="{B7EE4DDD-33DF-4ECC-B9D1-B5112552FCBE}" dt="2021-05-07T15:48:16.410" v="44" actId="6549"/>
          <ac:spMkLst>
            <pc:docMk/>
            <pc:sldMk cId="397174415" sldId="10277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9:04.234" v="48" actId="20577"/>
        <pc:sldMkLst>
          <pc:docMk/>
          <pc:sldMk cId="2239434521" sldId="10278"/>
        </pc:sldMkLst>
        <pc:spChg chg="mod">
          <ac:chgData name="Ajit Kotwal" userId="781b8ab5-6f9a-4511-aed5-b50cf9e67252" providerId="ADAL" clId="{B7EE4DDD-33DF-4ECC-B9D1-B5112552FCBE}" dt="2021-05-07T15:49:04.234" v="48" actId="20577"/>
          <ac:spMkLst>
            <pc:docMk/>
            <pc:sldMk cId="2239434521" sldId="10278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9:21.237" v="50" actId="20577"/>
        <pc:sldMkLst>
          <pc:docMk/>
          <pc:sldMk cId="1161685352" sldId="10279"/>
        </pc:sldMkLst>
        <pc:spChg chg="mod">
          <ac:chgData name="Ajit Kotwal" userId="781b8ab5-6f9a-4511-aed5-b50cf9e67252" providerId="ADAL" clId="{B7EE4DDD-33DF-4ECC-B9D1-B5112552FCBE}" dt="2021-05-07T15:49:21.237" v="50" actId="20577"/>
          <ac:spMkLst>
            <pc:docMk/>
            <pc:sldMk cId="1161685352" sldId="10279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9:32.811" v="52" actId="6549"/>
        <pc:sldMkLst>
          <pc:docMk/>
          <pc:sldMk cId="916965836" sldId="10280"/>
        </pc:sldMkLst>
        <pc:spChg chg="mod">
          <ac:chgData name="Ajit Kotwal" userId="781b8ab5-6f9a-4511-aed5-b50cf9e67252" providerId="ADAL" clId="{B7EE4DDD-33DF-4ECC-B9D1-B5112552FCBE}" dt="2021-05-07T15:49:32.811" v="52" actId="6549"/>
          <ac:spMkLst>
            <pc:docMk/>
            <pc:sldMk cId="916965836" sldId="10280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9:43.888" v="54" actId="6549"/>
        <pc:sldMkLst>
          <pc:docMk/>
          <pc:sldMk cId="3346154788" sldId="10281"/>
        </pc:sldMkLst>
        <pc:spChg chg="mod">
          <ac:chgData name="Ajit Kotwal" userId="781b8ab5-6f9a-4511-aed5-b50cf9e67252" providerId="ADAL" clId="{B7EE4DDD-33DF-4ECC-B9D1-B5112552FCBE}" dt="2021-05-07T15:49:43.888" v="54" actId="6549"/>
          <ac:spMkLst>
            <pc:docMk/>
            <pc:sldMk cId="3346154788" sldId="10281"/>
            <ac:spMk id="15" creationId="{BDD64BFD-7ED9-4476-ABC3-6BBAC4A275B2}"/>
          </ac:spMkLst>
        </pc:spChg>
      </pc:sldChg>
      <pc:sldChg chg="modSp mod">
        <pc:chgData name="Ajit Kotwal" userId="781b8ab5-6f9a-4511-aed5-b50cf9e67252" providerId="ADAL" clId="{B7EE4DDD-33DF-4ECC-B9D1-B5112552FCBE}" dt="2021-05-07T15:49:53.715" v="56" actId="6549"/>
        <pc:sldMkLst>
          <pc:docMk/>
          <pc:sldMk cId="2981688304" sldId="10282"/>
        </pc:sldMkLst>
        <pc:spChg chg="mod">
          <ac:chgData name="Ajit Kotwal" userId="781b8ab5-6f9a-4511-aed5-b50cf9e67252" providerId="ADAL" clId="{B7EE4DDD-33DF-4ECC-B9D1-B5112552FCBE}" dt="2021-05-07T15:49:53.715" v="56" actId="6549"/>
          <ac:spMkLst>
            <pc:docMk/>
            <pc:sldMk cId="2981688304" sldId="10282"/>
            <ac:spMk id="15" creationId="{BDD64BFD-7ED9-4476-ABC3-6BBAC4A275B2}"/>
          </ac:spMkLst>
        </pc:spChg>
      </pc:sldChg>
      <pc:sldChg chg="del">
        <pc:chgData name="Ajit Kotwal" userId="781b8ab5-6f9a-4511-aed5-b50cf9e67252" providerId="ADAL" clId="{B7EE4DDD-33DF-4ECC-B9D1-B5112552FCBE}" dt="2021-05-07T15:49:23.762" v="51" actId="47"/>
        <pc:sldMkLst>
          <pc:docMk/>
          <pc:sldMk cId="371622776" sldId="10283"/>
        </pc:sldMkLst>
      </pc:sldChg>
      <pc:sldChg chg="del delCm">
        <pc:chgData name="Ajit Kotwal" userId="781b8ab5-6f9a-4511-aed5-b50cf9e67252" providerId="ADAL" clId="{B7EE4DDD-33DF-4ECC-B9D1-B5112552FCBE}" dt="2021-05-07T15:49:36.046" v="53" actId="47"/>
        <pc:sldMkLst>
          <pc:docMk/>
          <pc:sldMk cId="503916700" sldId="10284"/>
        </pc:sldMkLst>
      </pc:sldChg>
      <pc:sldChg chg="del">
        <pc:chgData name="Ajit Kotwal" userId="781b8ab5-6f9a-4511-aed5-b50cf9e67252" providerId="ADAL" clId="{B7EE4DDD-33DF-4ECC-B9D1-B5112552FCBE}" dt="2021-05-07T15:49:46.396" v="55" actId="47"/>
        <pc:sldMkLst>
          <pc:docMk/>
          <pc:sldMk cId="2606447300" sldId="10285"/>
        </pc:sldMkLst>
      </pc:sldChg>
      <pc:sldChg chg="del">
        <pc:chgData name="Ajit Kotwal" userId="781b8ab5-6f9a-4511-aed5-b50cf9e67252" providerId="ADAL" clId="{B7EE4DDD-33DF-4ECC-B9D1-B5112552FCBE}" dt="2021-05-07T15:49:56.747" v="57" actId="47"/>
        <pc:sldMkLst>
          <pc:docMk/>
          <pc:sldMk cId="3619002474" sldId="10286"/>
        </pc:sldMkLst>
      </pc:sldChg>
    </pc:docChg>
  </pc:docChgLst>
  <pc:docChgLst>
    <pc:chgData name="Kuntal Ghoshal" userId="9365114f-3662-492a-8f44-5af3c15a2194" providerId="ADAL" clId="{DE3C81DD-6771-421F-A44C-6EDE39C98196}"/>
    <pc:docChg chg="undo custSel addSld modSld sldOrd modSection">
      <pc:chgData name="Kuntal Ghoshal" userId="9365114f-3662-492a-8f44-5af3c15a2194" providerId="ADAL" clId="{DE3C81DD-6771-421F-A44C-6EDE39C98196}" dt="2021-02-15T05:44:49.230" v="1003"/>
      <pc:docMkLst>
        <pc:docMk/>
      </pc:docMkLst>
      <pc:sldChg chg="modCm">
        <pc:chgData name="Kuntal Ghoshal" userId="9365114f-3662-492a-8f44-5af3c15a2194" providerId="ADAL" clId="{DE3C81DD-6771-421F-A44C-6EDE39C98196}" dt="2021-02-15T05:29:25.603" v="999"/>
        <pc:sldMkLst>
          <pc:docMk/>
          <pc:sldMk cId="1247591511" sldId="10243"/>
        </pc:sldMkLst>
      </pc:sldChg>
      <pc:sldChg chg="ord">
        <pc:chgData name="Kuntal Ghoshal" userId="9365114f-3662-492a-8f44-5af3c15a2194" providerId="ADAL" clId="{DE3C81DD-6771-421F-A44C-6EDE39C98196}" dt="2021-02-11T11:07:49.274" v="1"/>
        <pc:sldMkLst>
          <pc:docMk/>
          <pc:sldMk cId="2495781146" sldId="10244"/>
        </pc:sldMkLst>
      </pc:sldChg>
      <pc:sldChg chg="addCm">
        <pc:chgData name="Kuntal Ghoshal" userId="9365114f-3662-492a-8f44-5af3c15a2194" providerId="ADAL" clId="{DE3C81DD-6771-421F-A44C-6EDE39C98196}" dt="2021-02-15T05:30:31.853" v="1000"/>
        <pc:sldMkLst>
          <pc:docMk/>
          <pc:sldMk cId="1419640178" sldId="10261"/>
        </pc:sldMkLst>
      </pc:sldChg>
      <pc:sldChg chg="modSp add mod">
        <pc:chgData name="Kuntal Ghoshal" userId="9365114f-3662-492a-8f44-5af3c15a2194" providerId="ADAL" clId="{DE3C81DD-6771-421F-A44C-6EDE39C98196}" dt="2021-02-11T11:29:52.797" v="996" actId="20577"/>
        <pc:sldMkLst>
          <pc:docMk/>
          <pc:sldMk cId="221291899" sldId="10264"/>
        </pc:sldMkLst>
        <pc:spChg chg="mod">
          <ac:chgData name="Kuntal Ghoshal" userId="9365114f-3662-492a-8f44-5af3c15a2194" providerId="ADAL" clId="{DE3C81DD-6771-421F-A44C-6EDE39C98196}" dt="2021-02-11T11:13:39.643" v="12" actId="20577"/>
          <ac:spMkLst>
            <pc:docMk/>
            <pc:sldMk cId="221291899" sldId="10264"/>
            <ac:spMk id="2" creationId="{11981002-9C29-43DD-9EFC-331DD8486892}"/>
          </ac:spMkLst>
        </pc:spChg>
        <pc:graphicFrameChg chg="mod modGraphic">
          <ac:chgData name="Kuntal Ghoshal" userId="9365114f-3662-492a-8f44-5af3c15a2194" providerId="ADAL" clId="{DE3C81DD-6771-421F-A44C-6EDE39C98196}" dt="2021-02-11T11:29:52.797" v="996" actId="20577"/>
          <ac:graphicFrameMkLst>
            <pc:docMk/>
            <pc:sldMk cId="221291899" sldId="10264"/>
            <ac:graphicFrameMk id="8" creationId="{9C3FA538-2EEB-4441-958F-8EEC1522DF33}"/>
          </ac:graphicFrameMkLst>
        </pc:graphicFrameChg>
        <pc:graphicFrameChg chg="modGraphic">
          <ac:chgData name="Kuntal Ghoshal" userId="9365114f-3662-492a-8f44-5af3c15a2194" providerId="ADAL" clId="{DE3C81DD-6771-421F-A44C-6EDE39C98196}" dt="2021-02-11T11:25:49.290" v="846" actId="20577"/>
          <ac:graphicFrameMkLst>
            <pc:docMk/>
            <pc:sldMk cId="221291899" sldId="10264"/>
            <ac:graphicFrameMk id="12" creationId="{0BA42EE4-2131-467C-8AC6-CFACB976FC9C}"/>
          </ac:graphicFrameMkLst>
        </pc:graphicFrameChg>
      </pc:sldChg>
      <pc:sldChg chg="addCm modCm">
        <pc:chgData name="Kuntal Ghoshal" userId="9365114f-3662-492a-8f44-5af3c15a2194" providerId="ADAL" clId="{DE3C81DD-6771-421F-A44C-6EDE39C98196}" dt="2021-02-15T05:44:49.230" v="1003"/>
        <pc:sldMkLst>
          <pc:docMk/>
          <pc:sldMk cId="503916700" sldId="10284"/>
        </pc:sldMkLst>
      </pc:sldChg>
    </pc:docChg>
  </pc:docChgLst>
  <pc:docChgLst>
    <pc:chgData name="Ajit Kotwal" userId="S::ajkotwal@microsoft.com::781b8ab5-6f9a-4511-aed5-b50cf9e67252" providerId="AD" clId="Web-{15022DDB-F845-48B6-881B-E999D30C64A5}"/>
    <pc:docChg chg="modSld">
      <pc:chgData name="Ajit Kotwal" userId="S::ajkotwal@microsoft.com::781b8ab5-6f9a-4511-aed5-b50cf9e67252" providerId="AD" clId="Web-{15022DDB-F845-48B6-881B-E999D30C64A5}" dt="2021-02-15T08:34:26.478" v="42" actId="20577"/>
      <pc:docMkLst>
        <pc:docMk/>
      </pc:docMkLst>
      <pc:sldChg chg="modCm">
        <pc:chgData name="Ajit Kotwal" userId="S::ajkotwal@microsoft.com::781b8ab5-6f9a-4511-aed5-b50cf9e67252" providerId="AD" clId="Web-{15022DDB-F845-48B6-881B-E999D30C64A5}" dt="2021-02-15T08:25:05.304" v="1"/>
        <pc:sldMkLst>
          <pc:docMk/>
          <pc:sldMk cId="1094870920" sldId="1735"/>
        </pc:sldMkLst>
      </pc:sldChg>
      <pc:sldChg chg="modCm">
        <pc:chgData name="Ajit Kotwal" userId="S::ajkotwal@microsoft.com::781b8ab5-6f9a-4511-aed5-b50cf9e67252" providerId="AD" clId="Web-{15022DDB-F845-48B6-881B-E999D30C64A5}" dt="2021-02-15T08:27:05.230" v="5"/>
        <pc:sldMkLst>
          <pc:docMk/>
          <pc:sldMk cId="3869426496" sldId="10238"/>
        </pc:sldMkLst>
      </pc:sldChg>
      <pc:sldChg chg="modCm">
        <pc:chgData name="Ajit Kotwal" userId="S::ajkotwal@microsoft.com::781b8ab5-6f9a-4511-aed5-b50cf9e67252" providerId="AD" clId="Web-{15022DDB-F845-48B6-881B-E999D30C64A5}" dt="2021-02-15T08:25:17.961" v="2"/>
        <pc:sldMkLst>
          <pc:docMk/>
          <pc:sldMk cId="1247591511" sldId="10243"/>
        </pc:sldMkLst>
      </pc:sldChg>
      <pc:sldChg chg="modCm">
        <pc:chgData name="Ajit Kotwal" userId="S::ajkotwal@microsoft.com::781b8ab5-6f9a-4511-aed5-b50cf9e67252" providerId="AD" clId="Web-{15022DDB-F845-48B6-881B-E999D30C64A5}" dt="2021-02-15T08:26:15.306" v="4"/>
        <pc:sldMkLst>
          <pc:docMk/>
          <pc:sldMk cId="2495781146" sldId="10244"/>
        </pc:sldMkLst>
      </pc:sldChg>
      <pc:sldChg chg="modCm">
        <pc:chgData name="Ajit Kotwal" userId="S::ajkotwal@microsoft.com::781b8ab5-6f9a-4511-aed5-b50cf9e67252" providerId="AD" clId="Web-{15022DDB-F845-48B6-881B-E999D30C64A5}" dt="2021-02-15T08:27:26.809" v="7"/>
        <pc:sldMkLst>
          <pc:docMk/>
          <pc:sldMk cId="1090235674" sldId="10247"/>
        </pc:sldMkLst>
      </pc:sldChg>
      <pc:sldChg chg="modCm">
        <pc:chgData name="Ajit Kotwal" userId="S::ajkotwal@microsoft.com::781b8ab5-6f9a-4511-aed5-b50cf9e67252" providerId="AD" clId="Web-{15022DDB-F845-48B6-881B-E999D30C64A5}" dt="2021-02-15T08:28:35.920" v="10"/>
        <pc:sldMkLst>
          <pc:docMk/>
          <pc:sldMk cId="706792741" sldId="10259"/>
        </pc:sldMkLst>
      </pc:sldChg>
      <pc:sldChg chg="modCm">
        <pc:chgData name="Ajit Kotwal" userId="S::ajkotwal@microsoft.com::781b8ab5-6f9a-4511-aed5-b50cf9e67252" providerId="AD" clId="Web-{15022DDB-F845-48B6-881B-E999D30C64A5}" dt="2021-02-15T08:30:12.299" v="12"/>
        <pc:sldMkLst>
          <pc:docMk/>
          <pc:sldMk cId="1419640178" sldId="10261"/>
        </pc:sldMkLst>
      </pc:sldChg>
      <pc:sldChg chg="modCm">
        <pc:chgData name="Ajit Kotwal" userId="S::ajkotwal@microsoft.com::781b8ab5-6f9a-4511-aed5-b50cf9e67252" providerId="AD" clId="Web-{15022DDB-F845-48B6-881B-E999D30C64A5}" dt="2021-02-15T08:28:57.874" v="11"/>
        <pc:sldMkLst>
          <pc:docMk/>
          <pc:sldMk cId="221291899" sldId="10264"/>
        </pc:sldMkLst>
      </pc:sldChg>
      <pc:sldChg chg="modSp modCm">
        <pc:chgData name="Ajit Kotwal" userId="S::ajkotwal@microsoft.com::781b8ab5-6f9a-4511-aed5-b50cf9e67252" providerId="AD" clId="Web-{15022DDB-F845-48B6-881B-E999D30C64A5}" dt="2021-02-15T08:34:26.478" v="42" actId="20577"/>
        <pc:sldMkLst>
          <pc:docMk/>
          <pc:sldMk cId="503916700" sldId="10284"/>
        </pc:sldMkLst>
        <pc:graphicFrameChg chg="modGraphic">
          <ac:chgData name="Ajit Kotwal" userId="S::ajkotwal@microsoft.com::781b8ab5-6f9a-4511-aed5-b50cf9e67252" providerId="AD" clId="Web-{15022DDB-F845-48B6-881B-E999D30C64A5}" dt="2021-02-15T08:32:46.600" v="24" actId="20577"/>
          <ac:graphicFrameMkLst>
            <pc:docMk/>
            <pc:sldMk cId="503916700" sldId="10284"/>
            <ac:graphicFrameMk id="8" creationId="{9C3FA538-2EEB-4441-958F-8EEC1522DF33}"/>
          </ac:graphicFrameMkLst>
        </pc:graphicFrameChg>
        <pc:graphicFrameChg chg="modGraphic">
          <ac:chgData name="Ajit Kotwal" userId="S::ajkotwal@microsoft.com::781b8ab5-6f9a-4511-aed5-b50cf9e67252" providerId="AD" clId="Web-{15022DDB-F845-48B6-881B-E999D30C64A5}" dt="2021-02-15T08:34:26.478" v="42" actId="20577"/>
          <ac:graphicFrameMkLst>
            <pc:docMk/>
            <pc:sldMk cId="503916700" sldId="10284"/>
            <ac:graphicFrameMk id="12" creationId="{0BA42EE4-2131-467C-8AC6-CFACB976FC9C}"/>
          </ac:graphicFrameMkLst>
        </pc:graphicFrameChg>
      </pc:sldChg>
    </pc:docChg>
  </pc:docChgLst>
  <pc:docChgLst>
    <pc:chgData name="Ajit Kotwal" userId="S::ajkotwal@microsoft.com::781b8ab5-6f9a-4511-aed5-b50cf9e67252" providerId="AD" clId="Web-{4F1F6329-7356-4799-A75B-9031A8A9E2F4}"/>
    <pc:docChg chg="modSld">
      <pc:chgData name="Ajit Kotwal" userId="S::ajkotwal@microsoft.com::781b8ab5-6f9a-4511-aed5-b50cf9e67252" providerId="AD" clId="Web-{4F1F6329-7356-4799-A75B-9031A8A9E2F4}" dt="2021-02-13T13:07:02.105" v="69" actId="20577"/>
      <pc:docMkLst>
        <pc:docMk/>
      </pc:docMkLst>
      <pc:sldChg chg="modSp">
        <pc:chgData name="Ajit Kotwal" userId="S::ajkotwal@microsoft.com::781b8ab5-6f9a-4511-aed5-b50cf9e67252" providerId="AD" clId="Web-{4F1F6329-7356-4799-A75B-9031A8A9E2F4}" dt="2021-02-13T13:03:08.417" v="33" actId="20577"/>
        <pc:sldMkLst>
          <pc:docMk/>
          <pc:sldMk cId="1094870920" sldId="1735"/>
        </pc:sldMkLst>
        <pc:spChg chg="mod">
          <ac:chgData name="Ajit Kotwal" userId="S::ajkotwal@microsoft.com::781b8ab5-6f9a-4511-aed5-b50cf9e67252" providerId="AD" clId="Web-{4F1F6329-7356-4799-A75B-9031A8A9E2F4}" dt="2021-02-13T13:03:08.417" v="33" actId="20577"/>
          <ac:spMkLst>
            <pc:docMk/>
            <pc:sldMk cId="1094870920" sldId="1735"/>
            <ac:spMk id="106" creationId="{687ADBDF-B730-4EA0-979B-30E0889CBA59}"/>
          </ac:spMkLst>
        </pc:spChg>
      </pc:sldChg>
      <pc:sldChg chg="modSp">
        <pc:chgData name="Ajit Kotwal" userId="S::ajkotwal@microsoft.com::781b8ab5-6f9a-4511-aed5-b50cf9e67252" providerId="AD" clId="Web-{4F1F6329-7356-4799-A75B-9031A8A9E2F4}" dt="2021-02-13T13:04:30.465" v="67" actId="20577"/>
        <pc:sldMkLst>
          <pc:docMk/>
          <pc:sldMk cId="2694433332" sldId="10224"/>
        </pc:sldMkLst>
        <pc:spChg chg="mod">
          <ac:chgData name="Ajit Kotwal" userId="S::ajkotwal@microsoft.com::781b8ab5-6f9a-4511-aed5-b50cf9e67252" providerId="AD" clId="Web-{4F1F6329-7356-4799-A75B-9031A8A9E2F4}" dt="2021-02-13T13:04:30.465" v="67" actId="20577"/>
          <ac:spMkLst>
            <pc:docMk/>
            <pc:sldMk cId="2694433332" sldId="10224"/>
            <ac:spMk id="23" creationId="{22A46BAD-659F-458D-A07B-9339075E8FFB}"/>
          </ac:spMkLst>
        </pc:spChg>
      </pc:sldChg>
      <pc:sldChg chg="modSp">
        <pc:chgData name="Ajit Kotwal" userId="S::ajkotwal@microsoft.com::781b8ab5-6f9a-4511-aed5-b50cf9e67252" providerId="AD" clId="Web-{4F1F6329-7356-4799-A75B-9031A8A9E2F4}" dt="2021-02-13T13:02:53.604" v="22" actId="20577"/>
        <pc:sldMkLst>
          <pc:docMk/>
          <pc:sldMk cId="1247591511" sldId="10243"/>
        </pc:sldMkLst>
        <pc:spChg chg="mod">
          <ac:chgData name="Ajit Kotwal" userId="S::ajkotwal@microsoft.com::781b8ab5-6f9a-4511-aed5-b50cf9e67252" providerId="AD" clId="Web-{4F1F6329-7356-4799-A75B-9031A8A9E2F4}" dt="2021-02-13T13:02:53.604" v="22" actId="20577"/>
          <ac:spMkLst>
            <pc:docMk/>
            <pc:sldMk cId="1247591511" sldId="10243"/>
            <ac:spMk id="2" creationId="{45010FE8-BF09-4146-B084-66CB05B66FD9}"/>
          </ac:spMkLst>
        </pc:spChg>
      </pc:sldChg>
      <pc:sldChg chg="modSp">
        <pc:chgData name="Ajit Kotwal" userId="S::ajkotwal@microsoft.com::781b8ab5-6f9a-4511-aed5-b50cf9e67252" providerId="AD" clId="Web-{4F1F6329-7356-4799-A75B-9031A8A9E2F4}" dt="2021-02-13T13:03:45.792" v="55" actId="20577"/>
        <pc:sldMkLst>
          <pc:docMk/>
          <pc:sldMk cId="2495781146" sldId="10244"/>
        </pc:sldMkLst>
        <pc:spChg chg="mod">
          <ac:chgData name="Ajit Kotwal" userId="S::ajkotwal@microsoft.com::781b8ab5-6f9a-4511-aed5-b50cf9e67252" providerId="AD" clId="Web-{4F1F6329-7356-4799-A75B-9031A8A9E2F4}" dt="2021-02-13T13:03:45.792" v="55" actId="20577"/>
          <ac:spMkLst>
            <pc:docMk/>
            <pc:sldMk cId="2495781146" sldId="10244"/>
            <ac:spMk id="2" creationId="{45010FE8-BF09-4146-B084-66CB05B66FD9}"/>
          </ac:spMkLst>
        </pc:spChg>
      </pc:sldChg>
      <pc:sldChg chg="modSp">
        <pc:chgData name="Ajit Kotwal" userId="S::ajkotwal@microsoft.com::781b8ab5-6f9a-4511-aed5-b50cf9e67252" providerId="AD" clId="Web-{4F1F6329-7356-4799-A75B-9031A8A9E2F4}" dt="2021-02-13T13:07:02.105" v="69" actId="20577"/>
        <pc:sldMkLst>
          <pc:docMk/>
          <pc:sldMk cId="1467403973" sldId="10246"/>
        </pc:sldMkLst>
        <pc:spChg chg="mod">
          <ac:chgData name="Ajit Kotwal" userId="S::ajkotwal@microsoft.com::781b8ab5-6f9a-4511-aed5-b50cf9e67252" providerId="AD" clId="Web-{4F1F6329-7356-4799-A75B-9031A8A9E2F4}" dt="2021-02-13T13:07:02.105" v="69" actId="20577"/>
          <ac:spMkLst>
            <pc:docMk/>
            <pc:sldMk cId="1467403973" sldId="10246"/>
            <ac:spMk id="15" creationId="{BDD64BFD-7ED9-4476-ABC3-6BBAC4A275B2}"/>
          </ac:spMkLst>
        </pc:spChg>
      </pc:sldChg>
      <pc:sldChg chg="modSp">
        <pc:chgData name="Ajit Kotwal" userId="S::ajkotwal@microsoft.com::781b8ab5-6f9a-4511-aed5-b50cf9e67252" providerId="AD" clId="Web-{4F1F6329-7356-4799-A75B-9031A8A9E2F4}" dt="2021-02-13T13:03:25.526" v="35" actId="20577"/>
        <pc:sldMkLst>
          <pc:docMk/>
          <pc:sldMk cId="1580086726" sldId="10251"/>
        </pc:sldMkLst>
        <pc:spChg chg="mod">
          <ac:chgData name="Ajit Kotwal" userId="S::ajkotwal@microsoft.com::781b8ab5-6f9a-4511-aed5-b50cf9e67252" providerId="AD" clId="Web-{4F1F6329-7356-4799-A75B-9031A8A9E2F4}" dt="2021-02-13T13:03:25.526" v="35" actId="20577"/>
          <ac:spMkLst>
            <pc:docMk/>
            <pc:sldMk cId="1580086726" sldId="10251"/>
            <ac:spMk id="8" creationId="{B641FCBC-9EF2-4AD6-AD44-163FDED01C3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EC9A59-2D54-4EB5-A21F-8B0704F6F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61193E-CD2D-4EBD-BB6B-DAF2B64F91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1934B-9E7B-47BD-9E11-CD9D0B990116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5FB0A6-1F75-44FD-8F68-A2AAA1D59D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5F2C96-14CF-48ED-BA80-70B9F297D5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08807-CD91-4D83-9199-4BCB992AB2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960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AA970-998E-44B5-A973-040C3B8B3432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6B356-2F22-40D0-A92B-C8127227B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85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unity.dynamics.com/crm/b/crminthefield/posts/test-automation-and-easyrepro-01---overview-and-getting-started" TargetMode="External"/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xrmenterprise.com/2020/03/easyrepro-in-60-seconds/" TargetMode="External"/><Relationship Id="rId4" Type="http://schemas.openxmlformats.org/officeDocument/2006/relationships/hyperlink" Target="https://nam06.safelinks.protection.outlook.com/?url=https%3A%2F%2Fwww.youtube.com%2Fwatch%3Fv%3DLF0hmSysWCg&amp;data=01%7C01%7Crichaj%40microsoft.com%7Cdfb4c1fa4aad43b988e508d6c979fe64%7C72f988bf86f141af91ab2d7cd011db47%7C1&amp;sdata=Bxs1impvySOVeL8o6oUHD7BF93G7i%2Fa4vPsLSSvsbxk%3D&amp;reserved=0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F0E8ADD-5317-4C14-B1BC-530D7C569EEA}" type="datetime8">
              <a:rPr lang="en-US" smtClean="0"/>
              <a:t>8/24/2021 11:35 A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627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53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=========================</a:t>
            </a:r>
          </a:p>
          <a:p>
            <a:r>
              <a:rPr lang="en-US" b="1" noProof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/>
              <a:t>To understand if there are any specific tools in use</a:t>
            </a:r>
          </a:p>
          <a:p>
            <a:endParaRPr lang="en-US" noProof="0"/>
          </a:p>
          <a:p>
            <a:r>
              <a:rPr lang="en-US" noProof="0"/>
              <a:t>=========================</a:t>
            </a:r>
          </a:p>
          <a:p>
            <a:r>
              <a:rPr lang="en-US" b="1" noProof="0"/>
              <a:t>What we’ll do with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/>
              <a:t>If you are not using any tools, we can provide you suggestions followed by other custom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/>
              <a:t>Provide you links to our tools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noProof="0"/>
          </a:p>
          <a:p>
            <a:r>
              <a:rPr lang="en-US"/>
              <a:t>Easy Repro – Getting Started</a:t>
            </a:r>
          </a:p>
          <a:p>
            <a:r>
              <a:rPr lang="en-AU">
                <a:hlinkClick r:id="rId3"/>
              </a:rPr>
              <a:t>https://community.dynamics.com/crm/b/crminthefield/posts/test-automation-and-easyrepro-01---overview-and-getting-started</a:t>
            </a:r>
            <a:endParaRPr lang="en-US">
              <a:cs typeface="Calibri"/>
            </a:endParaRPr>
          </a:p>
          <a:p>
            <a:r>
              <a:rPr lang="en-US"/>
              <a:t> </a:t>
            </a:r>
            <a:endParaRPr lang="en-US">
              <a:cs typeface="Calibri"/>
            </a:endParaRPr>
          </a:p>
          <a:p>
            <a:r>
              <a:rPr lang="en-US"/>
              <a:t>Automated and Manual Testing with Azure Test Plan (DevOps) </a:t>
            </a:r>
          </a:p>
          <a:p>
            <a:r>
              <a:rPr lang="en-US">
                <a:hlinkClick r:id="rId4"/>
              </a:rPr>
              <a:t>https://www.youtube.com/watch?v=LF0hmSysWCg</a:t>
            </a:r>
            <a:endParaRPr lang="en-US"/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EasyRepro</a:t>
            </a:r>
            <a:r>
              <a:rPr lang="en-US">
                <a:cs typeface="Calibri"/>
              </a:rPr>
              <a:t> in 60 Seconds</a:t>
            </a:r>
          </a:p>
          <a:p>
            <a:r>
              <a:rPr lang="en-AU">
                <a:hlinkClick r:id="rId5"/>
              </a:rPr>
              <a:t>http://xrmenterprise.com/2020/03/easyrepro-in-60-seconds/</a:t>
            </a:r>
            <a:endParaRPr lang="en-US">
              <a:cs typeface="Calibri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noProof="0"/>
          </a:p>
          <a:p>
            <a:endParaRPr lang="en-US" noProof="0"/>
          </a:p>
          <a:p>
            <a:r>
              <a:rPr lang="en-US" noProof="0"/>
              <a:t>=========================</a:t>
            </a:r>
          </a:p>
          <a:p>
            <a:r>
              <a:rPr lang="en-US" b="1" noProof="0"/>
              <a:t>FAQ:</a:t>
            </a:r>
          </a:p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4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151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288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017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447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3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673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759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039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89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7704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690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789"/>
            <a:ext cx="5825213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927231"/>
            <a:ext cx="5826717" cy="71510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B8B8BB-1A51-426E-BFB3-31A7B8AB7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86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 dirty="0">
                <a:ln w="3175"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115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6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REVIEW ITEM</a:t>
            </a:r>
          </a:p>
        </p:txBody>
      </p:sp>
    </p:spTree>
    <p:extLst>
      <p:ext uri="{BB962C8B-B14F-4D97-AF65-F5344CB8AC3E}">
        <p14:creationId xmlns:p14="http://schemas.microsoft.com/office/powerpoint/2010/main" val="3241177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AD59570-D98B-4F7B-80B6-9471B2041BB8}"/>
              </a:ext>
            </a:extLst>
          </p:cNvPr>
          <p:cNvGrpSpPr/>
          <p:nvPr/>
        </p:nvGrpSpPr>
        <p:grpSpPr>
          <a:xfrm rot="5400000">
            <a:off x="10042168" y="2339070"/>
            <a:ext cx="5409049" cy="730911"/>
            <a:chOff x="3184538" y="0"/>
            <a:chExt cx="9389529" cy="1461567"/>
          </a:xfrm>
        </p:grpSpPr>
        <p:sp>
          <p:nvSpPr>
            <p:cNvPr id="25" name="Shape 4961">
              <a:extLst>
                <a:ext uri="{FF2B5EF4-FFF2-40B4-BE49-F238E27FC236}">
                  <a16:creationId xmlns:a16="http://schemas.microsoft.com/office/drawing/2014/main" id="{2E9321FE-8B80-4A65-A4F1-0A9A645DC267}"/>
                </a:ext>
              </a:extLst>
            </p:cNvPr>
            <p:cNvSpPr/>
            <p:nvPr userDrawn="1"/>
          </p:nvSpPr>
          <p:spPr>
            <a:xfrm>
              <a:off x="4189057" y="0"/>
              <a:ext cx="2006917" cy="881533"/>
            </a:xfrm>
            <a:custGeom>
              <a:avLst/>
              <a:gdLst/>
              <a:ahLst/>
              <a:cxnLst/>
              <a:rect l="0" t="0" r="0" b="0"/>
              <a:pathLst>
                <a:path w="2006917" h="881533">
                  <a:moveTo>
                    <a:pt x="0" y="881533"/>
                  </a:moveTo>
                  <a:lnTo>
                    <a:pt x="2006917" y="881533"/>
                  </a:lnTo>
                  <a:lnTo>
                    <a:pt x="20069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Shape 34744">
              <a:extLst>
                <a:ext uri="{FF2B5EF4-FFF2-40B4-BE49-F238E27FC236}">
                  <a16:creationId xmlns:a16="http://schemas.microsoft.com/office/drawing/2014/main" id="{2A233076-34B9-428C-BA8D-CDA63AA548EE}"/>
                </a:ext>
              </a:extLst>
            </p:cNvPr>
            <p:cNvSpPr/>
            <p:nvPr userDrawn="1"/>
          </p:nvSpPr>
          <p:spPr>
            <a:xfrm>
              <a:off x="7381545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Shape 34745">
              <a:extLst>
                <a:ext uri="{FF2B5EF4-FFF2-40B4-BE49-F238E27FC236}">
                  <a16:creationId xmlns:a16="http://schemas.microsoft.com/office/drawing/2014/main" id="{E534E280-234A-4D24-8D84-2EF3AE4ABD87}"/>
                </a:ext>
              </a:extLst>
            </p:cNvPr>
            <p:cNvSpPr/>
            <p:nvPr userDrawn="1"/>
          </p:nvSpPr>
          <p:spPr>
            <a:xfrm>
              <a:off x="10566082" y="0"/>
              <a:ext cx="2006918" cy="881533"/>
            </a:xfrm>
            <a:custGeom>
              <a:avLst/>
              <a:gdLst/>
              <a:ahLst/>
              <a:cxnLst/>
              <a:rect l="0" t="0" r="0" b="0"/>
              <a:pathLst>
                <a:path w="2006918" h="881533">
                  <a:moveTo>
                    <a:pt x="0" y="0"/>
                  </a:moveTo>
                  <a:lnTo>
                    <a:pt x="2006918" y="0"/>
                  </a:lnTo>
                  <a:lnTo>
                    <a:pt x="200691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8" name="Shape 34746">
              <a:extLst>
                <a:ext uri="{FF2B5EF4-FFF2-40B4-BE49-F238E27FC236}">
                  <a16:creationId xmlns:a16="http://schemas.microsoft.com/office/drawing/2014/main" id="{D6C72A1A-A69A-4D6B-93DB-F5A42D5DC3A4}"/>
                </a:ext>
              </a:extLst>
            </p:cNvPr>
            <p:cNvSpPr/>
            <p:nvPr userDrawn="1"/>
          </p:nvSpPr>
          <p:spPr>
            <a:xfrm>
              <a:off x="3184538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29" name="Shape 34747">
              <a:extLst>
                <a:ext uri="{FF2B5EF4-FFF2-40B4-BE49-F238E27FC236}">
                  <a16:creationId xmlns:a16="http://schemas.microsoft.com/office/drawing/2014/main" id="{DFCB0D70-8AB5-4852-A6CD-D0898F48DC48}"/>
                </a:ext>
              </a:extLst>
            </p:cNvPr>
            <p:cNvSpPr/>
            <p:nvPr userDrawn="1"/>
          </p:nvSpPr>
          <p:spPr>
            <a:xfrm>
              <a:off x="31845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8272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0" name="Shape 34748">
              <a:extLst>
                <a:ext uri="{FF2B5EF4-FFF2-40B4-BE49-F238E27FC236}">
                  <a16:creationId xmlns:a16="http://schemas.microsoft.com/office/drawing/2014/main" id="{FF3E8AEE-5EB8-4FCB-9345-7436A01B5037}"/>
                </a:ext>
              </a:extLst>
            </p:cNvPr>
            <p:cNvSpPr/>
            <p:nvPr userDrawn="1"/>
          </p:nvSpPr>
          <p:spPr>
            <a:xfrm>
              <a:off x="418746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1" name="Shape 34749">
              <a:extLst>
                <a:ext uri="{FF2B5EF4-FFF2-40B4-BE49-F238E27FC236}">
                  <a16:creationId xmlns:a16="http://schemas.microsoft.com/office/drawing/2014/main" id="{0F6F9298-4267-424F-9DE8-A04E5D92C3F2}"/>
                </a:ext>
              </a:extLst>
            </p:cNvPr>
            <p:cNvSpPr/>
            <p:nvPr userDrawn="1"/>
          </p:nvSpPr>
          <p:spPr>
            <a:xfrm>
              <a:off x="7378370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2" name="Shape 34750">
              <a:extLst>
                <a:ext uri="{FF2B5EF4-FFF2-40B4-BE49-F238E27FC236}">
                  <a16:creationId xmlns:a16="http://schemas.microsoft.com/office/drawing/2014/main" id="{F3A82740-A27D-419A-9071-C99151F8EC7A}"/>
                </a:ext>
              </a:extLst>
            </p:cNvPr>
            <p:cNvSpPr/>
            <p:nvPr userDrawn="1"/>
          </p:nvSpPr>
          <p:spPr>
            <a:xfrm>
              <a:off x="10569257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75757A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3" name="Shape 34751">
              <a:extLst>
                <a:ext uri="{FF2B5EF4-FFF2-40B4-BE49-F238E27FC236}">
                  <a16:creationId xmlns:a16="http://schemas.microsoft.com/office/drawing/2014/main" id="{C6EC78F6-2F73-4674-9D1F-BAAF8641F52B}"/>
                </a:ext>
              </a:extLst>
            </p:cNvPr>
            <p:cNvSpPr/>
            <p:nvPr userDrawn="1"/>
          </p:nvSpPr>
          <p:spPr>
            <a:xfrm>
              <a:off x="5189347" y="1061517"/>
              <a:ext cx="1001865" cy="400050"/>
            </a:xfrm>
            <a:custGeom>
              <a:avLst/>
              <a:gdLst/>
              <a:ahLst/>
              <a:cxnLst/>
              <a:rect l="0" t="0" r="0" b="0"/>
              <a:pathLst>
                <a:path w="1001865" h="400050">
                  <a:moveTo>
                    <a:pt x="0" y="0"/>
                  </a:moveTo>
                  <a:lnTo>
                    <a:pt x="1001865" y="0"/>
                  </a:lnTo>
                  <a:lnTo>
                    <a:pt x="1001865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4" name="Shape 34752">
              <a:extLst>
                <a:ext uri="{FF2B5EF4-FFF2-40B4-BE49-F238E27FC236}">
                  <a16:creationId xmlns:a16="http://schemas.microsoft.com/office/drawing/2014/main" id="{61B8BD4B-7E5A-4D1B-A617-35C9B0BB9FFB}"/>
                </a:ext>
              </a:extLst>
            </p:cNvPr>
            <p:cNvSpPr/>
            <p:nvPr userDrawn="1"/>
          </p:nvSpPr>
          <p:spPr>
            <a:xfrm>
              <a:off x="8380235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5" name="Shape 34753">
              <a:extLst>
                <a:ext uri="{FF2B5EF4-FFF2-40B4-BE49-F238E27FC236}">
                  <a16:creationId xmlns:a16="http://schemas.microsoft.com/office/drawing/2014/main" id="{CDF8ED96-44E3-4FF9-BD37-088F4E4B7590}"/>
                </a:ext>
              </a:extLst>
            </p:cNvPr>
            <p:cNvSpPr/>
            <p:nvPr userDrawn="1"/>
          </p:nvSpPr>
          <p:spPr>
            <a:xfrm>
              <a:off x="9567380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6" name="Shape 34754">
              <a:extLst>
                <a:ext uri="{FF2B5EF4-FFF2-40B4-BE49-F238E27FC236}">
                  <a16:creationId xmlns:a16="http://schemas.microsoft.com/office/drawing/2014/main" id="{33639B97-4EC8-4A96-8674-EC0CA6D35CCB}"/>
                </a:ext>
              </a:extLst>
            </p:cNvPr>
            <p:cNvSpPr/>
            <p:nvPr userDrawn="1"/>
          </p:nvSpPr>
          <p:spPr>
            <a:xfrm>
              <a:off x="9561564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0"/>
                  </a:moveTo>
                  <a:lnTo>
                    <a:pt x="1001878" y="0"/>
                  </a:lnTo>
                  <a:lnTo>
                    <a:pt x="1001878" y="881533"/>
                  </a:lnTo>
                  <a:lnTo>
                    <a:pt x="0" y="881533"/>
                  </a:lnTo>
                  <a:lnTo>
                    <a:pt x="0" y="0"/>
                  </a:lnTo>
                </a:path>
              </a:pathLst>
            </a:custGeom>
            <a:ln w="0" cap="flat">
              <a:noFill/>
              <a:miter lim="100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30E5D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7" name="Shape 4980">
              <a:extLst>
                <a:ext uri="{FF2B5EF4-FFF2-40B4-BE49-F238E27FC236}">
                  <a16:creationId xmlns:a16="http://schemas.microsoft.com/office/drawing/2014/main" id="{7FEE606F-FA83-4898-9AAC-BAFFAA27B3D5}"/>
                </a:ext>
              </a:extLst>
            </p:cNvPr>
            <p:cNvSpPr/>
            <p:nvPr userDrawn="1"/>
          </p:nvSpPr>
          <p:spPr>
            <a:xfrm>
              <a:off x="6375438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400050"/>
                  </a:moveTo>
                  <a:lnTo>
                    <a:pt x="1001878" y="400050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8" name="Shape 34755">
              <a:extLst>
                <a:ext uri="{FF2B5EF4-FFF2-40B4-BE49-F238E27FC236}">
                  <a16:creationId xmlns:a16="http://schemas.microsoft.com/office/drawing/2014/main" id="{AB6B6F4D-58DB-4DC8-BF07-D5A6F9C97644}"/>
                </a:ext>
              </a:extLst>
            </p:cNvPr>
            <p:cNvSpPr/>
            <p:nvPr userDrawn="1"/>
          </p:nvSpPr>
          <p:spPr>
            <a:xfrm>
              <a:off x="11572189" y="1061517"/>
              <a:ext cx="1001878" cy="400050"/>
            </a:xfrm>
            <a:custGeom>
              <a:avLst/>
              <a:gdLst/>
              <a:ahLst/>
              <a:cxnLst/>
              <a:rect l="0" t="0" r="0" b="0"/>
              <a:pathLst>
                <a:path w="1001878" h="400050">
                  <a:moveTo>
                    <a:pt x="0" y="0"/>
                  </a:moveTo>
                  <a:lnTo>
                    <a:pt x="1001878" y="0"/>
                  </a:lnTo>
                  <a:lnTo>
                    <a:pt x="1001878" y="400050"/>
                  </a:lnTo>
                  <a:lnTo>
                    <a:pt x="0" y="400050"/>
                  </a:lnTo>
                  <a:lnTo>
                    <a:pt x="0" y="0"/>
                  </a:lnTo>
                </a:path>
              </a:pathLst>
            </a:custGeom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1">
              <a:srgbClr val="3C3C41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  <p:sp>
          <p:nvSpPr>
            <p:cNvPr id="39" name="Shape 4982">
              <a:extLst>
                <a:ext uri="{FF2B5EF4-FFF2-40B4-BE49-F238E27FC236}">
                  <a16:creationId xmlns:a16="http://schemas.microsoft.com/office/drawing/2014/main" id="{AC2E100E-184C-4DCF-9EDC-71E58BA5A30A}"/>
                </a:ext>
              </a:extLst>
            </p:cNvPr>
            <p:cNvSpPr/>
            <p:nvPr userDrawn="1"/>
          </p:nvSpPr>
          <p:spPr>
            <a:xfrm>
              <a:off x="6377026" y="0"/>
              <a:ext cx="1001878" cy="881533"/>
            </a:xfrm>
            <a:custGeom>
              <a:avLst/>
              <a:gdLst/>
              <a:ahLst/>
              <a:cxnLst/>
              <a:rect l="0" t="0" r="0" b="0"/>
              <a:pathLst>
                <a:path w="1001878" h="881533">
                  <a:moveTo>
                    <a:pt x="0" y="881533"/>
                  </a:moveTo>
                  <a:lnTo>
                    <a:pt x="1001878" y="881533"/>
                  </a:lnTo>
                  <a:lnTo>
                    <a:pt x="10018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noFill/>
              <a:miter lim="100000"/>
            </a:ln>
          </p:spPr>
          <p:style>
            <a:lnRef idx="1">
              <a:srgbClr val="3C3C41"/>
            </a:lnRef>
            <a:fillRef idx="0">
              <a:srgbClr val="000000">
                <a:alpha val="0"/>
              </a:srgbClr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en-US"/>
            </a:p>
          </p:txBody>
        </p:sp>
      </p:grp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61EF8645-8B66-48E7-B17B-6F3D48D699CB}"/>
              </a:ext>
            </a:extLst>
          </p:cNvPr>
          <p:cNvGraphicFramePr>
            <a:graphicFrameLocks noGrp="1"/>
          </p:cNvGraphicFramePr>
          <p:nvPr/>
        </p:nvGraphicFramePr>
        <p:xfrm>
          <a:off x="13397218" y="-16936"/>
          <a:ext cx="2500652" cy="5416206"/>
        </p:xfrm>
        <a:graphic>
          <a:graphicData uri="http://schemas.openxmlformats.org/drawingml/2006/table">
            <a:tbl>
              <a:tblPr firstRow="1" firstCol="1" bandRow="1"/>
              <a:tblGrid>
                <a:gridCol w="2500652">
                  <a:extLst>
                    <a:ext uri="{9D8B030D-6E8A-4147-A177-3AD203B41FA5}">
                      <a16:colId xmlns:a16="http://schemas.microsoft.com/office/drawing/2014/main" val="2676493096"/>
                    </a:ext>
                  </a:extLst>
                </a:gridCol>
              </a:tblGrid>
              <a:tr h="180540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3500" b="1">
                          <a:solidFill>
                            <a:srgbClr val="008272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10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119204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FFFEFD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FFFEFD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116892"/>
                  </a:ext>
                </a:extLst>
              </a:tr>
              <a:tr h="1805402">
                <a:tc>
                  <a:txBody>
                    <a:bodyPr/>
                    <a:lstStyle/>
                    <a:p>
                      <a:pPr marL="0" marR="0" lvl="0" indent="0" algn="l" defTabSz="9143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500" b="1" kern="1200">
                          <a:solidFill>
                            <a:srgbClr val="30E5D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Times New Roman" panose="02020603050405020304" pitchFamily="18" charset="0"/>
                        </a:rPr>
                        <a:t>Unlock next.</a:t>
                      </a:r>
                      <a:endParaRPr lang="en-US" sz="3500" b="1" kern="1200">
                        <a:solidFill>
                          <a:srgbClr val="30E5D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0251" marR="67608" marT="0" marB="405055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30878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A0E4FBD6-C58B-4E81-8469-3BF05ED5AE18}"/>
              </a:ext>
            </a:extLst>
          </p:cNvPr>
          <p:cNvGraphicFramePr>
            <a:graphicFrameLocks noGrp="1"/>
          </p:cNvGraphicFramePr>
          <p:nvPr/>
        </p:nvGraphicFramePr>
        <p:xfrm>
          <a:off x="12381237" y="5495708"/>
          <a:ext cx="3968905" cy="1316153"/>
        </p:xfrm>
        <a:graphic>
          <a:graphicData uri="http://schemas.openxmlformats.org/drawingml/2006/table">
            <a:tbl>
              <a:tblPr firstRow="1" firstCol="1" bandRow="1"/>
              <a:tblGrid>
                <a:gridCol w="839668">
                  <a:extLst>
                    <a:ext uri="{9D8B030D-6E8A-4147-A177-3AD203B41FA5}">
                      <a16:colId xmlns:a16="http://schemas.microsoft.com/office/drawing/2014/main" val="1609752180"/>
                    </a:ext>
                  </a:extLst>
                </a:gridCol>
                <a:gridCol w="828447">
                  <a:extLst>
                    <a:ext uri="{9D8B030D-6E8A-4147-A177-3AD203B41FA5}">
                      <a16:colId xmlns:a16="http://schemas.microsoft.com/office/drawing/2014/main" val="1258621652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39155094"/>
                    </a:ext>
                  </a:extLst>
                </a:gridCol>
                <a:gridCol w="730561">
                  <a:extLst>
                    <a:ext uri="{9D8B030D-6E8A-4147-A177-3AD203B41FA5}">
                      <a16:colId xmlns:a16="http://schemas.microsoft.com/office/drawing/2014/main" val="1921586234"/>
                    </a:ext>
                  </a:extLst>
                </a:gridCol>
                <a:gridCol w="839668">
                  <a:extLst>
                    <a:ext uri="{9D8B030D-6E8A-4147-A177-3AD203B41FA5}">
                      <a16:colId xmlns:a16="http://schemas.microsoft.com/office/drawing/2014/main" val="1402456235"/>
                    </a:ext>
                  </a:extLst>
                </a:gridCol>
              </a:tblGrid>
              <a:tr h="10569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791449"/>
                  </a:ext>
                </a:extLst>
              </a:tr>
              <a:tr h="214610">
                <a:tc rowSpan="5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BEB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412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1776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E5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322679"/>
                  </a:ext>
                </a:extLst>
              </a:tr>
              <a:tr h="2834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57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7867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78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931" marR="54931" marT="27466" marB="2746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7092800"/>
                  </a:ext>
                </a:extLst>
              </a:tr>
              <a:tr h="6066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54075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3258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3C4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068851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2F3AEAC4-DC44-4D3F-BF46-3339379DD5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79377" y="189356"/>
            <a:ext cx="1203358" cy="590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6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86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AB675F-0E53-4F4A-8014-781B09191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62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AB675F-0E53-4F4A-8014-781B09191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688989-C678-4EEB-A04D-D19F3B124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5BCFD79-ACCF-4415-ABDE-04E18E58FD4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auto">
          <a:xfrm>
            <a:off x="269303" y="1436913"/>
            <a:ext cx="5237645" cy="243397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98" baseline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r>
              <a:rPr kumimoji="0" lang="en-US" sz="4200" b="0" i="0" u="none" strike="noStrike" kern="1200" cap="none" spc="-98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Dynamics 365 </a:t>
            </a:r>
            <a:r>
              <a:rPr lang="en-US" sz="4400" dirty="0">
                <a:latin typeface="Segoe UI Semibold" panose="020B0702040204020203" pitchFamily="34" charset="0"/>
              </a:rPr>
              <a:t>Test Strategy Workshop</a:t>
            </a:r>
            <a:br>
              <a:rPr lang="en-US" sz="4400" dirty="0">
                <a:latin typeface="Segoe UI Semibold" panose="020B0702040204020203" pitchFamily="34" charset="0"/>
              </a:rPr>
            </a:br>
            <a:endParaRPr kumimoji="0" lang="en-US" sz="4200" b="0" i="0" u="none" strike="noStrike" kern="1200" cap="none" spc="-98" normalizeH="0" baseline="0" noProof="0" dirty="0">
              <a:ln w="3175"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65844A-B378-4D24-B7F0-B5D3709F5455}"/>
              </a:ext>
            </a:extLst>
          </p:cNvPr>
          <p:cNvSpPr txBox="1">
            <a:spLocks/>
          </p:cNvSpPr>
          <p:nvPr/>
        </p:nvSpPr>
        <p:spPr bwMode="auto">
          <a:xfrm>
            <a:off x="267683" y="5308478"/>
            <a:ext cx="3999517" cy="949569"/>
          </a:xfrm>
          <a:prstGeom prst="rect">
            <a:avLst/>
          </a:prstGeom>
        </p:spPr>
        <p:txBody>
          <a:bodyPr vert="horz" wrap="square" lIns="146304" tIns="109728" rIns="146304" bIns="109728" rtlCol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cs typeface="Segoe UI Light" panose="020B0502040204020203" pitchFamily="34" charset="0"/>
              </a:rPr>
              <a:t>&lt;Name&gt;</a:t>
            </a:r>
          </a:p>
          <a:p>
            <a:r>
              <a:rPr lang="en-US" sz="2400" dirty="0">
                <a:cs typeface="Segoe UI Light" panose="020B0502040204020203" pitchFamily="34" charset="0"/>
              </a:rPr>
              <a:t>Solution Architect</a:t>
            </a:r>
          </a:p>
          <a:p>
            <a:endParaRPr lang="en-US" sz="2400" dirty="0"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35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Test Phases and Test Types</a:t>
            </a:r>
          </a:p>
        </p:txBody>
      </p:sp>
    </p:spTree>
    <p:extLst>
      <p:ext uri="{BB962C8B-B14F-4D97-AF65-F5344CB8AC3E}">
        <p14:creationId xmlns:p14="http://schemas.microsoft.com/office/powerpoint/2010/main" val="35563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ing types and phas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GB" sz="1800">
                  <a:solidFill>
                    <a:schemeClr val="tx1"/>
                  </a:solidFill>
                  <a:effectLst/>
                  <a:latin typeface="Segoe UI" panose="020B0502040204020203" pitchFamily="34" charset="0"/>
                </a:rPr>
                <a:t>What are the key test phases (SIT, UAT etc), and what are the related milestones?</a:t>
              </a:r>
              <a:endParaRPr lang="en-GB" sz="1800"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82002" y="1783166"/>
            <a:ext cx="11277600" cy="18122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Inf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7AAE775-4DA6-4987-863A-6C8999E1B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887087"/>
            <a:ext cx="11302402" cy="338554"/>
            <a:chOff x="457200" y="5787537"/>
            <a:chExt cx="11302402" cy="33855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2A46BAD-659F-458D-A07B-9339075E8FFB}"/>
                </a:ext>
              </a:extLst>
            </p:cNvPr>
            <p:cNvSpPr/>
            <p:nvPr/>
          </p:nvSpPr>
          <p:spPr>
            <a:xfrm>
              <a:off x="506805" y="5787537"/>
              <a:ext cx="11252797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tIns="45720" rIns="91440" bIns="45720" rtlCol="0" anchor="ctr">
              <a:spAutoFit/>
            </a:bodyPr>
            <a:lstStyle/>
            <a:p>
              <a:r>
                <a:rPr lang="en-US" sz="1600">
                  <a:solidFill>
                    <a:schemeClr val="tx1"/>
                  </a:solidFill>
                </a:rPr>
                <a:t>List any other tests, functional and non-functional (unit testing, performance testing, data testing </a:t>
              </a:r>
              <a:r>
                <a:rPr lang="en-US" sz="1600" err="1">
                  <a:solidFill>
                    <a:schemeClr val="tx1"/>
                  </a:solidFill>
                </a:rPr>
                <a:t>etc</a:t>
              </a:r>
              <a:r>
                <a:rPr lang="en-US" sz="1600">
                  <a:solidFill>
                    <a:schemeClr val="tx1"/>
                  </a:solidFill>
                </a:rPr>
                <a:t>) that are planned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9E6AA40-1904-4941-8E7F-0215DBD28CC2}"/>
                </a:ext>
              </a:extLst>
            </p:cNvPr>
            <p:cNvGrpSpPr/>
            <p:nvPr/>
          </p:nvGrpSpPr>
          <p:grpSpPr>
            <a:xfrm>
              <a:off x="457200" y="5793754"/>
              <a:ext cx="326112" cy="326111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DDFE0FF-3720-4E32-9088-3A2E4DB7DAD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Graphic 77">
                <a:extLst>
                  <a:ext uri="{FF2B5EF4-FFF2-40B4-BE49-F238E27FC236}">
                    <a16:creationId xmlns:a16="http://schemas.microsoft.com/office/drawing/2014/main" id="{C983B941-0B83-4C76-BD09-79DCBB73F435}"/>
                  </a:ext>
                </a:extLst>
              </p:cNvPr>
              <p:cNvSpPr/>
              <p:nvPr/>
            </p:nvSpPr>
            <p:spPr>
              <a:xfrm>
                <a:off x="230796" y="2004264"/>
                <a:ext cx="243074" cy="175240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23A63D8C-A2A6-4D29-BE0C-940A4A5FC1E8}"/>
              </a:ext>
            </a:extLst>
          </p:cNvPr>
          <p:cNvSpPr/>
          <p:nvPr/>
        </p:nvSpPr>
        <p:spPr>
          <a:xfrm>
            <a:off x="506804" y="4335713"/>
            <a:ext cx="11227996" cy="21563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Info</a:t>
            </a:r>
          </a:p>
        </p:txBody>
      </p:sp>
    </p:spTree>
    <p:extLst>
      <p:ext uri="{BB962C8B-B14F-4D97-AF65-F5344CB8AC3E}">
        <p14:creationId xmlns:p14="http://schemas.microsoft.com/office/powerpoint/2010/main" val="269443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 Definition &amp; Test Management consider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are the tests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82002" y="1783167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45720" rtlCol="0" anchor="t"/>
          <a:lstStyle/>
          <a:p>
            <a:r>
              <a:rPr lang="en-US" sz="1600">
                <a:solidFill>
                  <a:schemeClr val="tx1"/>
                </a:solidFill>
              </a:rPr>
              <a:t>What are the common patterns or strategies across all the tests? (For specific details per Test Phase/Test Type use the detailed test slides). See the “Example/Guide” slide for the list of areas to consider: </a:t>
            </a:r>
            <a:r>
              <a:rPr lang="en-GB" sz="160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>
              <a:solidFill>
                <a:schemeClr val="tx1"/>
              </a:solidFill>
              <a:cs typeface="Segoe UI"/>
            </a:endParaRPr>
          </a:p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146740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89511"/>
            <a:ext cx="11757108" cy="899665"/>
          </a:xfrm>
        </p:spPr>
        <p:txBody>
          <a:bodyPr/>
          <a:lstStyle/>
          <a:p>
            <a:r>
              <a:rPr lang="en-GB" dirty="0"/>
              <a:t>Test Definition &amp; Test Management consider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ow is testing defined, planned and its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rgbClr val="FFC000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Example/Guide slid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pic>
        <p:nvPicPr>
          <p:cNvPr id="5" name="Picture 4" descr="Test Definition &amp; Test Management considerations example showing phases and objectives of testing.">
            <a:extLst>
              <a:ext uri="{FF2B5EF4-FFF2-40B4-BE49-F238E27FC236}">
                <a16:creationId xmlns:a16="http://schemas.microsoft.com/office/drawing/2014/main" id="{C209E981-42FC-480A-AAF1-D94E0730C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1927776"/>
            <a:ext cx="11277601" cy="3741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23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Unit Testing</a:t>
            </a:r>
          </a:p>
        </p:txBody>
      </p:sp>
    </p:spTree>
    <p:extLst>
      <p:ext uri="{BB962C8B-B14F-4D97-AF65-F5344CB8AC3E}">
        <p14:creationId xmlns:p14="http://schemas.microsoft.com/office/powerpoint/2010/main" val="39199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nit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Unit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226337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Functional/Process Testing</a:t>
            </a:r>
          </a:p>
        </p:txBody>
      </p:sp>
    </p:spTree>
    <p:extLst>
      <p:ext uri="{BB962C8B-B14F-4D97-AF65-F5344CB8AC3E}">
        <p14:creationId xmlns:p14="http://schemas.microsoft.com/office/powerpoint/2010/main" val="146431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unctional/Process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Functional/Process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243752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System Integration Testing</a:t>
            </a:r>
          </a:p>
        </p:txBody>
      </p:sp>
    </p:spTree>
    <p:extLst>
      <p:ext uri="{BB962C8B-B14F-4D97-AF65-F5344CB8AC3E}">
        <p14:creationId xmlns:p14="http://schemas.microsoft.com/office/powerpoint/2010/main" val="226368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ystem Integration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System Integration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2466818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est Strategy Workshop Agend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50DF09-0D7B-4F8E-8ACF-13567A221AF3}"/>
              </a:ext>
            </a:extLst>
          </p:cNvPr>
          <p:cNvSpPr/>
          <p:nvPr/>
        </p:nvSpPr>
        <p:spPr>
          <a:xfrm>
            <a:off x="1500053" y="1374543"/>
            <a:ext cx="4621220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US" sz="200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Agend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77907F9-2172-46A3-AEA0-8DD4122F217B}"/>
              </a:ext>
            </a:extLst>
          </p:cNvPr>
          <p:cNvSpPr/>
          <p:nvPr/>
        </p:nvSpPr>
        <p:spPr>
          <a:xfrm>
            <a:off x="6121273" y="1374543"/>
            <a:ext cx="5613527" cy="514055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defTabSz="932597"/>
            <a:r>
              <a:rPr lang="en-US" sz="1600" i="1" dirty="0">
                <a:solidFill>
                  <a:schemeClr val="tx1"/>
                </a:solidFill>
              </a:rPr>
              <a:t>Reiterate the purpose and objectives of this workshop to ensure all attendees have a common understanding.</a:t>
            </a:r>
          </a:p>
          <a:p>
            <a:pPr defTabSz="932597"/>
            <a:endParaRPr lang="en-US" sz="1600" dirty="0">
              <a:solidFill>
                <a:schemeClr val="tx1"/>
              </a:solidFill>
            </a:endParaRPr>
          </a:p>
          <a:p>
            <a:pPr defTabSz="932597"/>
            <a:r>
              <a:rPr lang="en-US" sz="1600" u="sng" dirty="0">
                <a:solidFill>
                  <a:schemeClr val="tx1"/>
                </a:solidFill>
              </a:rPr>
              <a:t>Objective of the Test Strategy</a:t>
            </a:r>
            <a:r>
              <a:rPr lang="en-US" sz="1600" dirty="0">
                <a:solidFill>
                  <a:schemeClr val="tx1"/>
                </a:solidFill>
              </a:rPr>
              <a:t>:  To provide the necessary direction and planning to ensure that the testing regimen is appropriate to the project scope, business needs and risks.</a:t>
            </a:r>
          </a:p>
          <a:p>
            <a:pPr defTabSz="932597"/>
            <a:endParaRPr lang="en-US" sz="1600" dirty="0">
              <a:solidFill>
                <a:schemeClr val="tx1"/>
              </a:solidFill>
            </a:endParaRPr>
          </a:p>
          <a:p>
            <a:pPr defTabSz="932597"/>
            <a:r>
              <a:rPr lang="en-US" sz="1600" u="sng" dirty="0">
                <a:solidFill>
                  <a:schemeClr val="tx1"/>
                </a:solidFill>
              </a:rPr>
              <a:t>Objective of this workshop</a:t>
            </a:r>
            <a:r>
              <a:rPr lang="en-US" sz="1600" dirty="0">
                <a:solidFill>
                  <a:schemeClr val="tx1"/>
                </a:solidFill>
              </a:rPr>
              <a:t>: To confirm that the Test Strategy for this project adequately addresses the project scope and related business risks prior to production use.</a:t>
            </a:r>
          </a:p>
          <a:p>
            <a:pPr defTabSz="932597"/>
            <a:endParaRPr lang="en-US" sz="1600" dirty="0">
              <a:solidFill>
                <a:schemeClr val="tx1"/>
              </a:solidFill>
            </a:endParaRPr>
          </a:p>
          <a:p>
            <a:pPr defTabSz="932597"/>
            <a:endParaRPr lang="en-US" sz="1600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42" name="Rectangle: Rounded Corners 14">
            <a:extLst>
              <a:ext uri="{FF2B5EF4-FFF2-40B4-BE49-F238E27FC236}">
                <a16:creationId xmlns:a16="http://schemas.microsoft.com/office/drawing/2014/main" id="{FCCFC8E7-228A-485F-B89E-E8B4B03CC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906ADDC-D360-4A0F-91FF-B494A9B96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94318" y="1349375"/>
            <a:ext cx="0" cy="49451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A8E8564-839D-4D78-B946-D71D10D7F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6121272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B913BBF-6FE9-4291-9E49-F676946105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45121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8DEDC1E-B9F9-418B-93EA-03CEE8A48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04072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354E8F2-26A2-4CCA-89B8-65B9B53DA0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47773" y="415813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03F52E1-9D12-4CD8-9AFB-DF3694F8E8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47773" y="474765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21FE680-81D2-484D-B86E-D8BCF74079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47773" y="495067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6FF7EC1-B2EB-4DC5-B055-C580BB6B5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29102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3151547-6629-4A30-85D7-9026BFEC7D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1895263"/>
            <a:ext cx="5613527" cy="522386"/>
            <a:chOff x="506805" y="1895263"/>
            <a:chExt cx="5613527" cy="5223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909AFD3-772D-428E-8735-D3CC0F3F9928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Purpose and objectives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343C8747-F64E-4A18-A94A-9D3F8224370C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9A72F8EA-291F-4570-84D1-25DC141B48F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Graphic 77">
                <a:extLst>
                  <a:ext uri="{FF2B5EF4-FFF2-40B4-BE49-F238E27FC236}">
                    <a16:creationId xmlns:a16="http://schemas.microsoft.com/office/drawing/2014/main" id="{9A88097F-834B-41ED-84A6-F60654AB22D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99D9518-4245-48DA-AFDC-44848BB4C3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73046" y="4236614"/>
            <a:ext cx="5613527" cy="564952"/>
            <a:chOff x="482473" y="3749450"/>
            <a:chExt cx="5613527" cy="541223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CE81B94-64B5-49BC-8A00-1B321C123F69}"/>
                </a:ext>
              </a:extLst>
            </p:cNvPr>
            <p:cNvSpPr/>
            <p:nvPr/>
          </p:nvSpPr>
          <p:spPr>
            <a:xfrm>
              <a:off x="482473" y="3768287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Test Phases and Test Types</a:t>
              </a:r>
            </a:p>
            <a:p>
              <a:pPr defTabSz="288000"/>
              <a:r>
                <a:rPr lang="en-GB" sz="1600">
                  <a:solidFill>
                    <a:schemeClr val="tx1"/>
                  </a:solidFill>
                </a:rPr>
                <a:t>	</a:t>
              </a:r>
              <a:r>
                <a:rPr lang="en-GB" sz="1200">
                  <a:solidFill>
                    <a:schemeClr val="tx1"/>
                  </a:solidFill>
                </a:rPr>
                <a:t>​ Specific Test Phases and Test Types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28EF100-B47D-4AE2-B379-E928FBF5CBF8}"/>
                </a:ext>
              </a:extLst>
            </p:cNvPr>
            <p:cNvGrpSpPr/>
            <p:nvPr/>
          </p:nvGrpSpPr>
          <p:grpSpPr>
            <a:xfrm>
              <a:off x="730757" y="37494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95D38F1C-5C55-4873-BE66-20E7BE3E2ED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3" name="Graphic 77">
                <a:extLst>
                  <a:ext uri="{FF2B5EF4-FFF2-40B4-BE49-F238E27FC236}">
                    <a16:creationId xmlns:a16="http://schemas.microsoft.com/office/drawing/2014/main" id="{E24498CF-9BEE-4E44-B585-1F75DC58AE6B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0543721-9F23-4D2C-A13E-D93B984A9F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4867319"/>
            <a:ext cx="5613527" cy="522386"/>
            <a:chOff x="506805" y="4822013"/>
            <a:chExt cx="5613527" cy="522386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31F93E7-ED00-4260-816E-6CBCB07E9A23}"/>
                </a:ext>
              </a:extLst>
            </p:cNvPr>
            <p:cNvSpPr/>
            <p:nvPr/>
          </p:nvSpPr>
          <p:spPr>
            <a:xfrm>
              <a:off x="506805" y="482201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endParaRPr lang="en-GB" sz="1600">
                <a:solidFill>
                  <a:schemeClr val="tx1"/>
                </a:solidFill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2CB8E29-DE60-4DA7-B4D0-2E855D242409}"/>
                </a:ext>
              </a:extLst>
            </p:cNvPr>
            <p:cNvGrpSpPr/>
            <p:nvPr/>
          </p:nvGrpSpPr>
          <p:grpSpPr>
            <a:xfrm>
              <a:off x="730757" y="492015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FD2A5F48-3EE0-4254-933E-F0507DBF41A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3" name="Graphic 77">
                <a:extLst>
                  <a:ext uri="{FF2B5EF4-FFF2-40B4-BE49-F238E27FC236}">
                    <a16:creationId xmlns:a16="http://schemas.microsoft.com/office/drawing/2014/main" id="{54D9EF2F-59A7-4FDC-996B-D738619C34AF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5831B84-1C17-4A14-9584-93D7C92B4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5298437"/>
            <a:ext cx="5613527" cy="522386"/>
            <a:chOff x="506805" y="5407363"/>
            <a:chExt cx="5613527" cy="522386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8DE2201B-869B-46E1-9DBD-5685B60F9033}"/>
                </a:ext>
              </a:extLst>
            </p:cNvPr>
            <p:cNvSpPr/>
            <p:nvPr/>
          </p:nvSpPr>
          <p:spPr>
            <a:xfrm>
              <a:off x="506805" y="54073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Q&amp;A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B2369DA4-97F3-49AA-A7F8-1E5CFA46923C}"/>
                </a:ext>
              </a:extLst>
            </p:cNvPr>
            <p:cNvGrpSpPr/>
            <p:nvPr/>
          </p:nvGrpSpPr>
          <p:grpSpPr>
            <a:xfrm>
              <a:off x="730757" y="55055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907CCD18-B526-49B1-B2D6-EC23F8940C59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Graphic 77">
                <a:extLst>
                  <a:ext uri="{FF2B5EF4-FFF2-40B4-BE49-F238E27FC236}">
                    <a16:creationId xmlns:a16="http://schemas.microsoft.com/office/drawing/2014/main" id="{B87852BE-A84F-43C9-9B66-6661E392814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429D1AB2-FD1C-420E-91FC-D03A20DC1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1273" y="1211265"/>
            <a:ext cx="5613527" cy="16327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endParaRPr lang="en-US" sz="16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B4443CD-27CA-4DBD-A805-FB445344C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27121" y="4988967"/>
            <a:ext cx="809756" cy="809754"/>
            <a:chOff x="6456428" y="2720976"/>
            <a:chExt cx="917704" cy="917702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F71E6BB8-F6B2-4A70-9C26-62A830F5F11B}"/>
                </a:ext>
              </a:extLst>
            </p:cNvPr>
            <p:cNvSpPr/>
            <p:nvPr/>
          </p:nvSpPr>
          <p:spPr bwMode="auto">
            <a:xfrm>
              <a:off x="6456428" y="2720976"/>
              <a:ext cx="917704" cy="917702"/>
            </a:xfrm>
            <a:custGeom>
              <a:avLst/>
              <a:gdLst>
                <a:gd name="connsiteX0" fmla="*/ 458852 w 917704"/>
                <a:gd name="connsiteY0" fmla="*/ 33532 h 917702"/>
                <a:gd name="connsiteX1" fmla="*/ 33532 w 917704"/>
                <a:gd name="connsiteY1" fmla="*/ 458851 h 917702"/>
                <a:gd name="connsiteX2" fmla="*/ 458852 w 917704"/>
                <a:gd name="connsiteY2" fmla="*/ 884170 h 917702"/>
                <a:gd name="connsiteX3" fmla="*/ 884172 w 917704"/>
                <a:gd name="connsiteY3" fmla="*/ 458851 h 917702"/>
                <a:gd name="connsiteX4" fmla="*/ 458852 w 917704"/>
                <a:gd name="connsiteY4" fmla="*/ 33532 h 917702"/>
                <a:gd name="connsiteX5" fmla="*/ 458852 w 917704"/>
                <a:gd name="connsiteY5" fmla="*/ 0 h 917702"/>
                <a:gd name="connsiteX6" fmla="*/ 917704 w 917704"/>
                <a:gd name="connsiteY6" fmla="*/ 458851 h 917702"/>
                <a:gd name="connsiteX7" fmla="*/ 458852 w 917704"/>
                <a:gd name="connsiteY7" fmla="*/ 917702 h 917702"/>
                <a:gd name="connsiteX8" fmla="*/ 0 w 917704"/>
                <a:gd name="connsiteY8" fmla="*/ 458851 h 917702"/>
                <a:gd name="connsiteX9" fmla="*/ 458852 w 917704"/>
                <a:gd name="connsiteY9" fmla="*/ 0 h 91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04" h="917702">
                  <a:moveTo>
                    <a:pt x="458852" y="33532"/>
                  </a:moveTo>
                  <a:cubicBezTo>
                    <a:pt x="223954" y="33532"/>
                    <a:pt x="33532" y="223954"/>
                    <a:pt x="33532" y="458851"/>
                  </a:cubicBezTo>
                  <a:cubicBezTo>
                    <a:pt x="33532" y="693748"/>
                    <a:pt x="223954" y="884170"/>
                    <a:pt x="458852" y="884170"/>
                  </a:cubicBezTo>
                  <a:cubicBezTo>
                    <a:pt x="693750" y="884170"/>
                    <a:pt x="884172" y="693748"/>
                    <a:pt x="884172" y="458851"/>
                  </a:cubicBezTo>
                  <a:cubicBezTo>
                    <a:pt x="884172" y="223954"/>
                    <a:pt x="693750" y="33532"/>
                    <a:pt x="458852" y="33532"/>
                  </a:cubicBezTo>
                  <a:close/>
                  <a:moveTo>
                    <a:pt x="458852" y="0"/>
                  </a:moveTo>
                  <a:cubicBezTo>
                    <a:pt x="712269" y="0"/>
                    <a:pt x="917704" y="205435"/>
                    <a:pt x="917704" y="458851"/>
                  </a:cubicBezTo>
                  <a:cubicBezTo>
                    <a:pt x="917704" y="712267"/>
                    <a:pt x="712269" y="917702"/>
                    <a:pt x="458852" y="917702"/>
                  </a:cubicBezTo>
                  <a:cubicBezTo>
                    <a:pt x="205435" y="917702"/>
                    <a:pt x="0" y="712267"/>
                    <a:pt x="0" y="458851"/>
                  </a:cubicBezTo>
                  <a:cubicBezTo>
                    <a:pt x="0" y="205435"/>
                    <a:pt x="205435" y="0"/>
                    <a:pt x="4588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6BDC5852-9503-4CDA-B807-61D5949A5EBC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6678730" y="3009901"/>
              <a:ext cx="473100" cy="339852"/>
            </a:xfrm>
            <a:custGeom>
              <a:avLst/>
              <a:gdLst>
                <a:gd name="T0" fmla="*/ 85 w 231"/>
                <a:gd name="T1" fmla="*/ 0 h 170"/>
                <a:gd name="T2" fmla="*/ 152 w 231"/>
                <a:gd name="T3" fmla="*/ 61 h 170"/>
                <a:gd name="T4" fmla="*/ 0 w 231"/>
                <a:gd name="T5" fmla="*/ 61 h 170"/>
                <a:gd name="T6" fmla="*/ 0 w 231"/>
                <a:gd name="T7" fmla="*/ 105 h 170"/>
                <a:gd name="T8" fmla="*/ 152 w 231"/>
                <a:gd name="T9" fmla="*/ 105 h 170"/>
                <a:gd name="T10" fmla="*/ 85 w 231"/>
                <a:gd name="T11" fmla="*/ 170 h 170"/>
                <a:gd name="T12" fmla="*/ 140 w 231"/>
                <a:gd name="T13" fmla="*/ 170 h 170"/>
                <a:gd name="T14" fmla="*/ 231 w 231"/>
                <a:gd name="T15" fmla="*/ 85 h 170"/>
                <a:gd name="T16" fmla="*/ 140 w 231"/>
                <a:gd name="T17" fmla="*/ 0 h 170"/>
                <a:gd name="T18" fmla="*/ 85 w 231"/>
                <a:gd name="T1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70">
                  <a:moveTo>
                    <a:pt x="85" y="0"/>
                  </a:moveTo>
                  <a:cubicBezTo>
                    <a:pt x="85" y="0"/>
                    <a:pt x="85" y="0"/>
                    <a:pt x="15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105"/>
                  </a:cubicBezTo>
                  <a:cubicBezTo>
                    <a:pt x="0" y="105"/>
                    <a:pt x="0" y="105"/>
                    <a:pt x="152" y="105"/>
                  </a:cubicBezTo>
                  <a:cubicBezTo>
                    <a:pt x="152" y="105"/>
                    <a:pt x="152" y="105"/>
                    <a:pt x="85" y="170"/>
                  </a:cubicBezTo>
                  <a:cubicBezTo>
                    <a:pt x="85" y="170"/>
                    <a:pt x="85" y="170"/>
                    <a:pt x="140" y="170"/>
                  </a:cubicBezTo>
                  <a:cubicBezTo>
                    <a:pt x="140" y="170"/>
                    <a:pt x="140" y="170"/>
                    <a:pt x="231" y="85"/>
                  </a:cubicBezTo>
                  <a:cubicBezTo>
                    <a:pt x="231" y="85"/>
                    <a:pt x="231" y="85"/>
                    <a:pt x="140" y="0"/>
                  </a:cubicBezTo>
                  <a:cubicBezTo>
                    <a:pt x="140" y="0"/>
                    <a:pt x="140" y="0"/>
                    <a:pt x="8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E1CA762-CB82-429E-89B2-E95C130A0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35EF289-2D65-4F5A-B305-094781357BB8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C3AC4F5-B8CF-4C17-AF27-028BA4F2F78A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D9CA0F8-45DB-4452-8902-D59EF6987F2E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F59A492-AF15-447B-8B4C-3EF2C022C1CB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4DF95E9-EB5D-45DC-B6C5-FDB46D7810EC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AF00A7-42CB-487A-A46E-4043059D2A8C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3" name="Rectangle 6">
            <a:extLst>
              <a:ext uri="{FF2B5EF4-FFF2-40B4-BE49-F238E27FC236}">
                <a16:creationId xmlns:a16="http://schemas.microsoft.com/office/drawing/2014/main" id="{58D773B7-673F-419E-B0B9-B5B66FF34DCD}"/>
              </a:ext>
            </a:extLst>
          </p:cNvPr>
          <p:cNvSpPr/>
          <p:nvPr/>
        </p:nvSpPr>
        <p:spPr bwMode="auto">
          <a:xfrm>
            <a:off x="7379544" y="4967644"/>
            <a:ext cx="4369478" cy="1662154"/>
          </a:xfrm>
          <a:prstGeom prst="rect">
            <a:avLst/>
          </a:prstGeom>
          <a:noFill/>
          <a:ln w="100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Format: </a:t>
            </a:r>
            <a:r>
              <a:rPr lang="en-US" sz="1600" kern="0">
                <a:ea typeface="Segoe UI" pitchFamily="34" charset="0"/>
                <a:cs typeface="Segoe UI" pitchFamily="34" charset="0"/>
              </a:rPr>
              <a:t>120-minute Microsoft Teams call</a:t>
            </a:r>
          </a:p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Attendees:</a:t>
            </a:r>
            <a:r>
              <a:rPr lang="en-US" sz="1600" kern="0">
                <a:ea typeface="Segoe UI" pitchFamily="34" charset="0"/>
                <a:cs typeface="Segoe UI" pitchFamily="34" charset="0"/>
              </a:rPr>
              <a:t>. Customer and partner: PMs, Solution Architect(s), Test Manager(s)</a:t>
            </a:r>
            <a:br>
              <a:rPr lang="en-US" sz="1600" kern="0">
                <a:ea typeface="Segoe UI" pitchFamily="34" charset="0"/>
                <a:cs typeface="Segoe UI" pitchFamily="34" charset="0"/>
              </a:rPr>
            </a:br>
            <a:r>
              <a:rPr lang="en-US" sz="1600" kern="0">
                <a:ea typeface="Segoe UI" pitchFamily="34" charset="0"/>
                <a:cs typeface="Segoe UI" pitchFamily="34" charset="0"/>
              </a:rPr>
              <a:t>are mandatory</a:t>
            </a:r>
          </a:p>
        </p:txBody>
      </p:sp>
      <p:sp>
        <p:nvSpPr>
          <p:cNvPr id="104" name="Rectangle: Rounded Corners 12">
            <a:extLst>
              <a:ext uri="{FF2B5EF4-FFF2-40B4-BE49-F238E27FC236}">
                <a16:creationId xmlns:a16="http://schemas.microsoft.com/office/drawing/2014/main" id="{1F9281E3-1F1D-4B02-A80D-710A4BB90B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8174" y="2658464"/>
            <a:ext cx="105306" cy="911078"/>
          </a:xfrm>
          <a:custGeom>
            <a:avLst/>
            <a:gdLst>
              <a:gd name="connsiteX0" fmla="*/ 0 w 301482"/>
              <a:gd name="connsiteY0" fmla="*/ 150741 h 1304170"/>
              <a:gd name="connsiteX1" fmla="*/ 150741 w 301482"/>
              <a:gd name="connsiteY1" fmla="*/ 0 h 1304170"/>
              <a:gd name="connsiteX2" fmla="*/ 150741 w 301482"/>
              <a:gd name="connsiteY2" fmla="*/ 0 h 1304170"/>
              <a:gd name="connsiteX3" fmla="*/ 301482 w 301482"/>
              <a:gd name="connsiteY3" fmla="*/ 150741 h 1304170"/>
              <a:gd name="connsiteX4" fmla="*/ 301482 w 301482"/>
              <a:gd name="connsiteY4" fmla="*/ 1153429 h 1304170"/>
              <a:gd name="connsiteX5" fmla="*/ 150741 w 301482"/>
              <a:gd name="connsiteY5" fmla="*/ 1304170 h 1304170"/>
              <a:gd name="connsiteX6" fmla="*/ 150741 w 301482"/>
              <a:gd name="connsiteY6" fmla="*/ 1304170 h 1304170"/>
              <a:gd name="connsiteX7" fmla="*/ 0 w 301482"/>
              <a:gd name="connsiteY7" fmla="*/ 1153429 h 1304170"/>
              <a:gd name="connsiteX8" fmla="*/ 0 w 301482"/>
              <a:gd name="connsiteY8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8" fmla="*/ 242181 w 301482"/>
              <a:gd name="connsiteY8" fmla="*/ 9144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0" fmla="*/ 0 w 150741"/>
              <a:gd name="connsiteY0" fmla="*/ 0 h 1304170"/>
              <a:gd name="connsiteX1" fmla="*/ 150741 w 150741"/>
              <a:gd name="connsiteY1" fmla="*/ 150741 h 1304170"/>
              <a:gd name="connsiteX2" fmla="*/ 150741 w 150741"/>
              <a:gd name="connsiteY2" fmla="*/ 1153429 h 1304170"/>
              <a:gd name="connsiteX3" fmla="*/ 0 w 150741"/>
              <a:gd name="connsiteY3" fmla="*/ 1304170 h 1304170"/>
              <a:gd name="connsiteX4" fmla="*/ 0 w 150741"/>
              <a:gd name="connsiteY4" fmla="*/ 1304170 h 130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41" h="1304170">
                <a:moveTo>
                  <a:pt x="0" y="0"/>
                </a:moveTo>
                <a:cubicBezTo>
                  <a:pt x="83252" y="0"/>
                  <a:pt x="150741" y="67489"/>
                  <a:pt x="150741" y="150741"/>
                </a:cubicBezTo>
                <a:lnTo>
                  <a:pt x="150741" y="1153429"/>
                </a:lnTo>
                <a:cubicBezTo>
                  <a:pt x="150741" y="1236681"/>
                  <a:pt x="83252" y="1304170"/>
                  <a:pt x="0" y="1304170"/>
                </a:cubicBezTo>
                <a:lnTo>
                  <a:pt x="0" y="1304170"/>
                </a:lnTo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765">
              <a:latin typeface="Segoe U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B24241-BB4A-41B3-8932-6471BC2563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7873" y="3961432"/>
            <a:ext cx="561352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936" rtlCol="0" anchor="ctr"/>
          <a:lstStyle/>
          <a:p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9BBCE3-8743-4C99-BEC8-0DE48BD28E1F}"/>
              </a:ext>
            </a:extLst>
          </p:cNvPr>
          <p:cNvSpPr/>
          <p:nvPr/>
        </p:nvSpPr>
        <p:spPr>
          <a:xfrm>
            <a:off x="567300" y="4811513"/>
            <a:ext cx="561352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5936" rtlCol="0" anchor="ctr"/>
          <a:lstStyle/>
          <a:p>
            <a:r>
              <a:rPr lang="en-GB" sz="1600">
                <a:solidFill>
                  <a:schemeClr val="tx1"/>
                </a:solidFill>
              </a:rPr>
              <a:t>Tools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66A09A1-5FB6-4FE4-B726-FEB8B2E47D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2868" y="3038386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823A448-5868-4E3E-9475-45AE56B3BB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82473" y="2482436"/>
            <a:ext cx="5613527" cy="522386"/>
            <a:chOff x="506805" y="1895263"/>
            <a:chExt cx="5613527" cy="52238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89B2625A-7450-4332-BC67-FFAD4032511F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Overall Test Strategy</a:t>
              </a: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B67C6B5-DE70-49DA-9A56-E97042CA010E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85D5318-D99F-4EDD-BA24-123B8848C8E2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Graphic 77">
                <a:extLst>
                  <a:ext uri="{FF2B5EF4-FFF2-40B4-BE49-F238E27FC236}">
                    <a16:creationId xmlns:a16="http://schemas.microsoft.com/office/drawing/2014/main" id="{5F131F46-5E95-409E-8E27-14AD0C78983E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6B4E243-2A15-43FD-99D9-B710B21D3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1283" y="4169488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3EBD8192-702E-4D55-BA67-A0309F7DF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90315" y="3085640"/>
            <a:ext cx="5613527" cy="522386"/>
            <a:chOff x="506805" y="1895263"/>
            <a:chExt cx="5613527" cy="522386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687ADBDF-B730-4EA0-979B-30E0889CBA59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tIns="45720" rIns="91440" bIns="45720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Project Scope mapped to Testing Scope</a:t>
              </a: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74AA53D-9B27-42B4-B7A1-A0B2CB19B801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BCC82F5C-76AA-418B-928A-E63F86611314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4" name="Graphic 77">
                <a:extLst>
                  <a:ext uri="{FF2B5EF4-FFF2-40B4-BE49-F238E27FC236}">
                    <a16:creationId xmlns:a16="http://schemas.microsoft.com/office/drawing/2014/main" id="{70C6D8CD-F571-4AA3-A93F-82200F490E4B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FBEDC42-5A0E-49B4-B67B-3134FED54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49358" y="3606840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1305CB6-6749-4B58-A3D3-83AB52CD6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5026" y="360449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9BD788A-5AF8-4256-B2AF-9437E8A039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82473" y="3651753"/>
            <a:ext cx="5613527" cy="522386"/>
            <a:chOff x="506805" y="1895263"/>
            <a:chExt cx="5613527" cy="522386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5BF6511F-CE5D-4CC8-B618-38F144A33D7E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Test Plan</a:t>
              </a:r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E630AEC-7425-4EA1-8159-9B0751D9A302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2E0B2EA2-42DE-426F-914F-DA7D2A7C823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Graphic 77">
                <a:extLst>
                  <a:ext uri="{FF2B5EF4-FFF2-40B4-BE49-F238E27FC236}">
                    <a16:creationId xmlns:a16="http://schemas.microsoft.com/office/drawing/2014/main" id="{35960CEE-F978-4854-8BCC-8E6C8EF2F048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713FD460-02CF-4F51-9F86-FBE610D83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1532" y="584135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2DDEF6D8-BBC6-4296-B37A-0E31AA836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839016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77353BD-1AE0-47AF-B0AB-CCB3DB2AB3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14647" y="5886270"/>
            <a:ext cx="5613527" cy="522386"/>
            <a:chOff x="506805" y="1895263"/>
            <a:chExt cx="5613527" cy="522386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9F3C9539-2BBD-4640-8275-CC4CF140FF51}"/>
                </a:ext>
              </a:extLst>
            </p:cNvPr>
            <p:cNvSpPr/>
            <p:nvPr/>
          </p:nvSpPr>
          <p:spPr>
            <a:xfrm>
              <a:off x="506805" y="1895263"/>
              <a:ext cx="5613527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GB" sz="1600">
                  <a:solidFill>
                    <a:schemeClr val="tx1"/>
                  </a:solidFill>
                </a:rPr>
                <a:t>Next Steps and Agreed Actions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E6584A59-62BA-40DC-8B7B-056C05275E7B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FC734F3-C3B5-4C40-88ED-501F44A1D50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30" name="Graphic 77">
                <a:extLst>
                  <a:ext uri="{FF2B5EF4-FFF2-40B4-BE49-F238E27FC236}">
                    <a16:creationId xmlns:a16="http://schemas.microsoft.com/office/drawing/2014/main" id="{73D2AB1C-69A3-4576-86F4-CF0AE2FBEB92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87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End-to-End Testing</a:t>
            </a:r>
          </a:p>
        </p:txBody>
      </p:sp>
    </p:spTree>
    <p:extLst>
      <p:ext uri="{BB962C8B-B14F-4D97-AF65-F5344CB8AC3E}">
        <p14:creationId xmlns:p14="http://schemas.microsoft.com/office/powerpoint/2010/main" val="271558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nd-to-End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End-to-End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  <a:cs typeface="Segoe UI"/>
            </a:endParaRP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39717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74198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ser Acceptance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User Acceptance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223943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Regression Testing</a:t>
            </a:r>
          </a:p>
        </p:txBody>
      </p:sp>
    </p:spTree>
    <p:extLst>
      <p:ext uri="{BB962C8B-B14F-4D97-AF65-F5344CB8AC3E}">
        <p14:creationId xmlns:p14="http://schemas.microsoft.com/office/powerpoint/2010/main" val="361200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gression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Regression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116168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1514261"/>
          </a:xfrm>
        </p:spPr>
        <p:txBody>
          <a:bodyPr/>
          <a:lstStyle/>
          <a:p>
            <a:r>
              <a:rPr lang="en-US" sz="4800"/>
              <a:t>Non-Functional Testing - Performance</a:t>
            </a:r>
          </a:p>
        </p:txBody>
      </p:sp>
    </p:spTree>
    <p:extLst>
      <p:ext uri="{BB962C8B-B14F-4D97-AF65-F5344CB8AC3E}">
        <p14:creationId xmlns:p14="http://schemas.microsoft.com/office/powerpoint/2010/main" val="31243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erformance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Performance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91696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Non-Functional Testing - Data</a:t>
            </a:r>
          </a:p>
        </p:txBody>
      </p:sp>
    </p:spTree>
    <p:extLst>
      <p:ext uri="{BB962C8B-B14F-4D97-AF65-F5344CB8AC3E}">
        <p14:creationId xmlns:p14="http://schemas.microsoft.com/office/powerpoint/2010/main" val="297584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Data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334615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Overall Test Strategy</a:t>
            </a:r>
          </a:p>
        </p:txBody>
      </p:sp>
    </p:spTree>
    <p:extLst>
      <p:ext uri="{BB962C8B-B14F-4D97-AF65-F5344CB8AC3E}">
        <p14:creationId xmlns:p14="http://schemas.microsoft.com/office/powerpoint/2010/main" val="223834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Non-Functional Testing - Security</a:t>
            </a:r>
          </a:p>
        </p:txBody>
      </p:sp>
    </p:spTree>
    <p:extLst>
      <p:ext uri="{BB962C8B-B14F-4D97-AF65-F5344CB8AC3E}">
        <p14:creationId xmlns:p14="http://schemas.microsoft.com/office/powerpoint/2010/main" val="157407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curity Test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How is Security Testing defined, prioritized, planned and the testing preparation, execution and reporting managed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57200" y="1711562"/>
            <a:ext cx="11277600" cy="4573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r>
              <a:rPr lang="en-US" sz="1600" dirty="0">
                <a:solidFill>
                  <a:schemeClr val="tx1"/>
                </a:solidFill>
              </a:rPr>
              <a:t>Consider the objectives of this test, what project scope this test covers, the entry/exit criteria and the test management process for this specific test. See the “Example/Guide” slide for the list of areas to consider: </a:t>
            </a:r>
            <a:r>
              <a:rPr lang="en-GB" sz="1600" dirty="0">
                <a:solidFill>
                  <a:schemeClr val="tx1"/>
                </a:solidFill>
                <a:hlinkClick r:id="rId3" action="ppaction://hlinksldjump"/>
              </a:rPr>
              <a:t>Test Definition &amp; Test Management consideratio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298168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Test Tooling</a:t>
            </a:r>
          </a:p>
        </p:txBody>
      </p:sp>
    </p:spTree>
    <p:extLst>
      <p:ext uri="{BB962C8B-B14F-4D97-AF65-F5344CB8AC3E}">
        <p14:creationId xmlns:p14="http://schemas.microsoft.com/office/powerpoint/2010/main" val="290963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oling – Dynamics 365 C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02F0AE0-091E-4632-9F6B-85E6B0D9F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7397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B84DF05-BA26-4958-A40A-7B14F3E434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11528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9CCBDAB-104D-4665-8A69-BFDEA24A3F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5660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D0C7387-BCC5-418B-BEB0-3A7022CB8768}"/>
              </a:ext>
            </a:extLst>
          </p:cNvPr>
          <p:cNvSpPr/>
          <p:nvPr/>
        </p:nvSpPr>
        <p:spPr>
          <a:xfrm>
            <a:off x="506805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tool(s) will be used for Testing?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75EF952-1BEA-4D5A-9F1A-78F44F0D3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9E74B97-3C08-4DF2-B16D-40804831F0A5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Graphic 77">
              <a:extLst>
                <a:ext uri="{FF2B5EF4-FFF2-40B4-BE49-F238E27FC236}">
                  <a16:creationId xmlns:a16="http://schemas.microsoft.com/office/drawing/2014/main" id="{558F9338-1E55-4392-ADE6-151E6511195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82583F54-FD2D-4CF8-9F12-0C897B1000EF}"/>
              </a:ext>
            </a:extLst>
          </p:cNvPr>
          <p:cNvSpPr/>
          <p:nvPr/>
        </p:nvSpPr>
        <p:spPr>
          <a:xfrm>
            <a:off x="506805" y="304344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Have you considered any whitepaper associated with the tool for best practices, known issues?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95FD759-2F2A-44DD-8CC3-3EA1C720B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14157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AF9582-9FD1-44E5-99BD-27118D851B57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Graphic 77">
              <a:extLst>
                <a:ext uri="{FF2B5EF4-FFF2-40B4-BE49-F238E27FC236}">
                  <a16:creationId xmlns:a16="http://schemas.microsoft.com/office/drawing/2014/main" id="{C0B65A85-44D5-4747-94B7-A7C3544C855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4D6FC085-C053-4D1E-8598-BF7A1B956072}"/>
              </a:ext>
            </a:extLst>
          </p:cNvPr>
          <p:cNvSpPr/>
          <p:nvPr/>
        </p:nvSpPr>
        <p:spPr>
          <a:xfrm>
            <a:off x="506806" y="419463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use of Automated and manual testing with Azure Plan (DevOps) have you planned?: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74983D6-3708-4E25-B0CE-5291AD0F7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2927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FFB35A-7913-445E-BDDA-974E72F1D78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Graphic 77">
              <a:extLst>
                <a:ext uri="{FF2B5EF4-FFF2-40B4-BE49-F238E27FC236}">
                  <a16:creationId xmlns:a16="http://schemas.microsoft.com/office/drawing/2014/main" id="{BBC0F371-6AC8-4CA5-9809-1AD072B98775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8D779325-EE33-4684-A270-CAC2DCE65BA6}"/>
              </a:ext>
            </a:extLst>
          </p:cNvPr>
          <p:cNvSpPr/>
          <p:nvPr/>
        </p:nvSpPr>
        <p:spPr>
          <a:xfrm>
            <a:off x="506806" y="5329715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use of Easy Repro for UI testing for Dynamics 365 have you planned?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9255C37-BCFD-4036-9F5F-002DCA5AE2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2785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8805271-3BE2-4DB5-8B9F-D188BEC702FE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Graphic 77">
              <a:extLst>
                <a:ext uri="{FF2B5EF4-FFF2-40B4-BE49-F238E27FC236}">
                  <a16:creationId xmlns:a16="http://schemas.microsoft.com/office/drawing/2014/main" id="{C9AB6650-5F2F-4951-85AB-5B42E2CF072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EC1991FE-22CA-4473-8132-A42D26117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10998" y="189526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F4E48B8-4202-4A6F-AA01-A6BF6628D6FC}"/>
              </a:ext>
            </a:extLst>
          </p:cNvPr>
          <p:cNvSpPr/>
          <p:nvPr/>
        </p:nvSpPr>
        <p:spPr>
          <a:xfrm>
            <a:off x="6810998" y="3036576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99A069E-8A45-412F-AD95-9171B760F4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10998" y="417789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15689F8-F6E3-4453-833B-0D8CBBBA5F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10998" y="5319205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6DCD6D8-96F0-4E06-8514-E18077295D00}"/>
              </a:ext>
            </a:extLst>
          </p:cNvPr>
          <p:cNvSpPr/>
          <p:nvPr/>
        </p:nvSpPr>
        <p:spPr>
          <a:xfrm>
            <a:off x="8438707" y="0"/>
            <a:ext cx="3753293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176445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oling – Dynamics 365 F&amp;O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B84DF05-BA26-4958-A40A-7B14F3E434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96024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D0C7387-BCC5-418B-BEB0-3A7022CB8768}"/>
              </a:ext>
            </a:extLst>
          </p:cNvPr>
          <p:cNvSpPr/>
          <p:nvPr/>
        </p:nvSpPr>
        <p:spPr>
          <a:xfrm>
            <a:off x="506805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automation or other tool(s) will be used for Testing ?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75EF952-1BEA-4D5A-9F1A-78F44F0D3A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9E74B97-3C08-4DF2-B16D-40804831F0A5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Graphic 77">
              <a:extLst>
                <a:ext uri="{FF2B5EF4-FFF2-40B4-BE49-F238E27FC236}">
                  <a16:creationId xmlns:a16="http://schemas.microsoft.com/office/drawing/2014/main" id="{558F9338-1E55-4392-ADE6-151E6511195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4D6FC085-C053-4D1E-8598-BF7A1B956072}"/>
              </a:ext>
            </a:extLst>
          </p:cNvPr>
          <p:cNvSpPr/>
          <p:nvPr/>
        </p:nvSpPr>
        <p:spPr>
          <a:xfrm>
            <a:off x="506806" y="5375372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What use of RSAT for regression testing have you planned?: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74983D6-3708-4E25-B0CE-5291AD0F7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73509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4FFB35A-7913-445E-BDDA-974E72F1D78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Graphic 77">
              <a:extLst>
                <a:ext uri="{FF2B5EF4-FFF2-40B4-BE49-F238E27FC236}">
                  <a16:creationId xmlns:a16="http://schemas.microsoft.com/office/drawing/2014/main" id="{BBC0F371-6AC8-4CA5-9809-1AD072B98775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EC1991FE-22CA-4473-8132-A42D261176C3}"/>
              </a:ext>
            </a:extLst>
          </p:cNvPr>
          <p:cNvSpPr/>
          <p:nvPr/>
        </p:nvSpPr>
        <p:spPr>
          <a:xfrm>
            <a:off x="6810998" y="1895260"/>
            <a:ext cx="4923802" cy="32232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dd a description of tooling for the various test types such as Unit Testing, Functional Testing, Performance Testing </a:t>
            </a:r>
            <a:r>
              <a:rPr lang="en-US" sz="1600" dirty="0" err="1">
                <a:solidFill>
                  <a:schemeClr val="tx1"/>
                </a:solidFill>
              </a:rPr>
              <a:t>etc</a:t>
            </a:r>
            <a:r>
              <a:rPr lang="en-US" sz="160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99A069E-8A45-412F-AD95-9171B760F4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10998" y="5358629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6DCD6D8-96F0-4E06-8514-E18077295D00}"/>
              </a:ext>
            </a:extLst>
          </p:cNvPr>
          <p:cNvSpPr/>
          <p:nvPr/>
        </p:nvSpPr>
        <p:spPr>
          <a:xfrm>
            <a:off x="8438707" y="0"/>
            <a:ext cx="3753293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365594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Q&amp;A and Next Steps</a:t>
            </a:r>
          </a:p>
        </p:txBody>
      </p:sp>
    </p:spTree>
    <p:extLst>
      <p:ext uri="{BB962C8B-B14F-4D97-AF65-F5344CB8AC3E}">
        <p14:creationId xmlns:p14="http://schemas.microsoft.com/office/powerpoint/2010/main" val="280774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Q&amp;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0DB5B5-71CC-4A82-83C7-4427225E89B4}"/>
              </a:ext>
            </a:extLst>
          </p:cNvPr>
          <p:cNvSpPr/>
          <p:nvPr/>
        </p:nvSpPr>
        <p:spPr>
          <a:xfrm>
            <a:off x="506804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Brief Q&amp;A to discuss any additional topic areas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9EA57D-195B-4FC2-A16F-1D98E98E9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D5F158D-72EA-4FD7-9A32-476745931B0D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Graphic 77">
              <a:extLst>
                <a:ext uri="{FF2B5EF4-FFF2-40B4-BE49-F238E27FC236}">
                  <a16:creationId xmlns:a16="http://schemas.microsoft.com/office/drawing/2014/main" id="{3CA31C58-F974-4272-8468-1BE1EE27E619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4FDBA81-4E94-4312-93CB-C497C8DC0C5E}"/>
              </a:ext>
            </a:extLst>
          </p:cNvPr>
          <p:cNvSpPr/>
          <p:nvPr/>
        </p:nvSpPr>
        <p:spPr>
          <a:xfrm>
            <a:off x="6810998" y="1895262"/>
            <a:ext cx="4923802" cy="4619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List questions and follow up actions</a:t>
            </a:r>
          </a:p>
        </p:txBody>
      </p:sp>
    </p:spTree>
    <p:extLst>
      <p:ext uri="{BB962C8B-B14F-4D97-AF65-F5344CB8AC3E}">
        <p14:creationId xmlns:p14="http://schemas.microsoft.com/office/powerpoint/2010/main" val="85563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and Agreed Action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EE3908A-E7B2-4491-9919-73E1BE3FA993}"/>
              </a:ext>
            </a:extLst>
          </p:cNvPr>
          <p:cNvSpPr/>
          <p:nvPr/>
        </p:nvSpPr>
        <p:spPr>
          <a:xfrm>
            <a:off x="506804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>
                <a:solidFill>
                  <a:schemeClr val="tx1"/>
                </a:solidFill>
              </a:rPr>
              <a:t>Discuss next steps and agreed action items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B24ABA-7791-4106-98DF-BC19E22E4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BC7BB6-3E3D-4013-9223-2902E1AC58E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Graphic 77">
              <a:extLst>
                <a:ext uri="{FF2B5EF4-FFF2-40B4-BE49-F238E27FC236}">
                  <a16:creationId xmlns:a16="http://schemas.microsoft.com/office/drawing/2014/main" id="{7945BD11-124E-4F10-9642-9099F23D22A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A35E9EE8-3792-4935-BDF4-3CC3B6FBB0A0}"/>
              </a:ext>
            </a:extLst>
          </p:cNvPr>
          <p:cNvSpPr/>
          <p:nvPr/>
        </p:nvSpPr>
        <p:spPr>
          <a:xfrm>
            <a:off x="6810998" y="1895262"/>
            <a:ext cx="4923802" cy="4619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List next steps and action items</a:t>
            </a:r>
          </a:p>
        </p:txBody>
      </p:sp>
    </p:spTree>
    <p:extLst>
      <p:ext uri="{BB962C8B-B14F-4D97-AF65-F5344CB8AC3E}">
        <p14:creationId xmlns:p14="http://schemas.microsoft.com/office/powerpoint/2010/main" val="26339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4B904D-F7B3-4787-AEAF-9AB91F1D8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4493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all Test Strateg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Define the overall Test Strategy and approach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538631" y="1711562"/>
            <a:ext cx="11277600" cy="47425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Info: A summary of the key areas of your Test Strateg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234506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>
                <a:cs typeface="Segoe UI"/>
              </a:rPr>
              <a:t>Project Scope mapped to Testing Scope</a:t>
            </a:r>
          </a:p>
        </p:txBody>
      </p:sp>
    </p:spTree>
    <p:extLst>
      <p:ext uri="{BB962C8B-B14F-4D97-AF65-F5344CB8AC3E}">
        <p14:creationId xmlns:p14="http://schemas.microsoft.com/office/powerpoint/2010/main" val="158008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Segoe UI"/>
              </a:rPr>
              <a:t>Project scope mapped to Testing scop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Identify the testing scope based on the project scope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538631" y="1711563"/>
            <a:ext cx="11277600" cy="32510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4572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Info: Consider all the various types of project scope. See some areas to consider here: </a:t>
            </a:r>
            <a:r>
              <a:rPr lang="en-GB" sz="1600">
                <a:solidFill>
                  <a:schemeClr val="tx1"/>
                </a:solidFill>
                <a:hlinkClick r:id="rId3" action="ppaction://hlinksldjump"/>
              </a:rPr>
              <a:t>Project scope mapped to Testing scope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7AAE775-4DA6-4987-863A-6C8999E1B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177142"/>
            <a:ext cx="11225441" cy="338554"/>
            <a:chOff x="457200" y="5787537"/>
            <a:chExt cx="10675765" cy="33855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2A46BAD-659F-458D-A07B-9339075E8FFB}"/>
                </a:ext>
              </a:extLst>
            </p:cNvPr>
            <p:cNvSpPr/>
            <p:nvPr/>
          </p:nvSpPr>
          <p:spPr>
            <a:xfrm>
              <a:off x="506805" y="5787537"/>
              <a:ext cx="10626160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>
                  <a:solidFill>
                    <a:schemeClr val="tx1"/>
                  </a:solidFill>
                </a:rPr>
                <a:t>List any relevant scope areas not clearly covered in the Test Strategy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9E6AA40-1904-4941-8E7F-0215DBD28CC2}"/>
                </a:ext>
              </a:extLst>
            </p:cNvPr>
            <p:cNvGrpSpPr/>
            <p:nvPr/>
          </p:nvGrpSpPr>
          <p:grpSpPr>
            <a:xfrm>
              <a:off x="457200" y="579375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0DDFE0FF-3720-4E32-9088-3A2E4DB7DAD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Graphic 77">
                <a:extLst>
                  <a:ext uri="{FF2B5EF4-FFF2-40B4-BE49-F238E27FC236}">
                    <a16:creationId xmlns:a16="http://schemas.microsoft.com/office/drawing/2014/main" id="{C983B941-0B83-4C76-BD09-79DCBB73F435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23A63D8C-A2A6-4D29-BE0C-940A4A5FC1E8}"/>
              </a:ext>
            </a:extLst>
          </p:cNvPr>
          <p:cNvSpPr/>
          <p:nvPr/>
        </p:nvSpPr>
        <p:spPr>
          <a:xfrm>
            <a:off x="486472" y="5595932"/>
            <a:ext cx="11248328" cy="7953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Info</a:t>
            </a:r>
          </a:p>
        </p:txBody>
      </p:sp>
    </p:spTree>
    <p:extLst>
      <p:ext uri="{BB962C8B-B14F-4D97-AF65-F5344CB8AC3E}">
        <p14:creationId xmlns:p14="http://schemas.microsoft.com/office/powerpoint/2010/main" val="124759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cs typeface="Segoe UI"/>
              </a:rPr>
              <a:t>Project scope mapped to Testing scop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Consider the following areas of your project scope and see how they are mapped to your testing scope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8631" y="1711562"/>
            <a:ext cx="11277600" cy="47425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rgbClr val="FFC000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Example/Guide slide</a:t>
            </a:r>
          </a:p>
        </p:txBody>
      </p:sp>
      <p:pic>
        <p:nvPicPr>
          <p:cNvPr id="10" name="Picture 9" descr="Detailed table of example for mapping project scope to testing scope.">
            <a:extLst>
              <a:ext uri="{FF2B5EF4-FFF2-40B4-BE49-F238E27FC236}">
                <a16:creationId xmlns:a16="http://schemas.microsoft.com/office/drawing/2014/main" id="{4E5E4D04-A5B1-40E9-99C9-7F06769E76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655447"/>
            <a:ext cx="11435095" cy="494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78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41FCBC-9EF2-4AD6-AD44-163FDED01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084173"/>
            <a:ext cx="11653523" cy="849463"/>
          </a:xfrm>
        </p:spPr>
        <p:txBody>
          <a:bodyPr/>
          <a:lstStyle/>
          <a:p>
            <a:r>
              <a:rPr lang="en-US" sz="4800"/>
              <a:t>Test Plan</a:t>
            </a:r>
          </a:p>
        </p:txBody>
      </p:sp>
    </p:spTree>
    <p:extLst>
      <p:ext uri="{BB962C8B-B14F-4D97-AF65-F5344CB8AC3E}">
        <p14:creationId xmlns:p14="http://schemas.microsoft.com/office/powerpoint/2010/main" val="122317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igh-level Test Pla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0EBBCF-0C7C-4CEF-B825-B08E20F51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89176"/>
            <a:ext cx="11277600" cy="522386"/>
            <a:chOff x="457200" y="1895261"/>
            <a:chExt cx="11277600" cy="5223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6583F2C-13BC-4FA8-A9DE-F1F764C38F10}"/>
                </a:ext>
              </a:extLst>
            </p:cNvPr>
            <p:cNvSpPr/>
            <p:nvPr/>
          </p:nvSpPr>
          <p:spPr>
            <a:xfrm>
              <a:off x="506804" y="1895261"/>
              <a:ext cx="11227996" cy="522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ow are the key test phases and test types represented in the Project plan?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24E342-E48E-4907-9072-289559104C52}"/>
                </a:ext>
              </a:extLst>
            </p:cNvPr>
            <p:cNvGrpSpPr/>
            <p:nvPr/>
          </p:nvGrpSpPr>
          <p:grpSpPr>
            <a:xfrm>
              <a:off x="457200" y="199339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69B4C5-09E2-40E1-809B-F38D97F29A2B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Graphic 77">
                <a:extLst>
                  <a:ext uri="{FF2B5EF4-FFF2-40B4-BE49-F238E27FC236}">
                    <a16:creationId xmlns:a16="http://schemas.microsoft.com/office/drawing/2014/main" id="{286F9C08-402C-4326-B8B7-33CDA61176F0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BDD64BFD-7ED9-4476-ABC3-6BBAC4A275B2}"/>
              </a:ext>
            </a:extLst>
          </p:cNvPr>
          <p:cNvSpPr/>
          <p:nvPr/>
        </p:nvSpPr>
        <p:spPr>
          <a:xfrm>
            <a:off x="482002" y="1783166"/>
            <a:ext cx="11277600" cy="47853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Add Project plan related to testing (include key dependent milestone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0B7DA-EBAD-49D8-8636-A3336D68F659}"/>
              </a:ext>
            </a:extLst>
          </p:cNvPr>
          <p:cNvSpPr/>
          <p:nvPr/>
        </p:nvSpPr>
        <p:spPr>
          <a:xfrm>
            <a:off x="8392668" y="0"/>
            <a:ext cx="3799332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2B453E7-1664-4B78-9B81-762FE2377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</p:spTree>
    <p:extLst>
      <p:ext uri="{BB962C8B-B14F-4D97-AF65-F5344CB8AC3E}">
        <p14:creationId xmlns:p14="http://schemas.microsoft.com/office/powerpoint/2010/main" val="386942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WOKmPFLDgGZxGfiF.s1w"/>
</p:tagLst>
</file>

<file path=ppt/theme/theme1.xml><?xml version="1.0" encoding="utf-8"?>
<a:theme xmlns:a="http://schemas.openxmlformats.org/drawingml/2006/main" name="Microsoft Dynamics 365">
  <a:themeElements>
    <a:clrScheme name="MSFT Dynamics 365">
      <a:dk1>
        <a:srgbClr val="505050"/>
      </a:dk1>
      <a:lt1>
        <a:sysClr val="window" lastClr="FFFFFF"/>
      </a:lt1>
      <a:dk2>
        <a:srgbClr val="008272"/>
      </a:dk2>
      <a:lt2>
        <a:srgbClr val="E7E6E6"/>
      </a:lt2>
      <a:accent1>
        <a:srgbClr val="008272"/>
      </a:accent1>
      <a:accent2>
        <a:srgbClr val="30E5D0"/>
      </a:accent2>
      <a:accent3>
        <a:srgbClr val="FEF000"/>
      </a:accent3>
      <a:accent4>
        <a:srgbClr val="3C3C41"/>
      </a:accent4>
      <a:accent5>
        <a:srgbClr val="75757A"/>
      </a:accent5>
      <a:accent6>
        <a:srgbClr val="EBEBEB"/>
      </a:accent6>
      <a:hlink>
        <a:srgbClr val="0563C1"/>
      </a:hlink>
      <a:folHlink>
        <a:srgbClr val="954F72"/>
      </a:folHlink>
    </a:clrScheme>
    <a:fontScheme name="Custom 3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6_8.potx" id="{4FF32A3D-B0EC-495C-AF46-E5EB76C621A5}" vid="{49D7FC66-7821-4689-8681-3263CCC233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3B1A370DB454895F1017B66A82434" ma:contentTypeVersion="15" ma:contentTypeDescription="Create a new document." ma:contentTypeScope="" ma:versionID="eef06004c515176c12416b0fb511e7c4">
  <xsd:schema xmlns:xsd="http://www.w3.org/2001/XMLSchema" xmlns:xs="http://www.w3.org/2001/XMLSchema" xmlns:p="http://schemas.microsoft.com/office/2006/metadata/properties" xmlns:ns1="http://schemas.microsoft.com/sharepoint/v3" xmlns:ns2="8e793c00-403c-4e2e-9f3f-1f9fce3bba0e" xmlns:ns3="21801293-8b26-4deb-98c0-71fc7c1e1877" targetNamespace="http://schemas.microsoft.com/office/2006/metadata/properties" ma:root="true" ma:fieldsID="60551183d560ece34b54a706bc0b5231" ns1:_="" ns2:_="" ns3:_="">
    <xsd:import namespace="http://schemas.microsoft.com/sharepoint/v3"/>
    <xsd:import namespace="8e793c00-403c-4e2e-9f3f-1f9fce3bba0e"/>
    <xsd:import namespace="21801293-8b26-4deb-98c0-71fc7c1e18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93c00-403c-4e2e-9f3f-1f9fce3bba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01293-8b26-4deb-98c0-71fc7c1e18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E1882E7-9227-4C06-A2E1-D3F4BF0D38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12B98C-5861-4568-BA2C-A7402A7558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e793c00-403c-4e2e-9f3f-1f9fce3bba0e"/>
    <ds:schemaRef ds:uri="21801293-8b26-4deb-98c0-71fc7c1e18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7D7729-9157-422A-A322-F886DC74C10E}">
  <ds:schemaRefs>
    <ds:schemaRef ds:uri="http://schemas.microsoft.com/office/2006/documentManagement/types"/>
    <ds:schemaRef ds:uri="http://schemas.microsoft.com/sharepoint/v3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terms/"/>
    <ds:schemaRef ds:uri="21801293-8b26-4deb-98c0-71fc7c1e1877"/>
    <ds:schemaRef ds:uri="8e793c00-403c-4e2e-9f3f-1f9fce3bba0e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1572</Words>
  <Application>Microsoft Office PowerPoint</Application>
  <PresentationFormat>Widescreen</PresentationFormat>
  <Paragraphs>168</Paragraphs>
  <Slides>38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Calibri</vt:lpstr>
      <vt:lpstr>Arial</vt:lpstr>
      <vt:lpstr>Segoe UI Semibold</vt:lpstr>
      <vt:lpstr>Segoe UI</vt:lpstr>
      <vt:lpstr>Microsoft Dynamics 365</vt:lpstr>
      <vt:lpstr>think-cell Slide</vt:lpstr>
      <vt:lpstr>Dynamics 365 Test Strategy Workshop </vt:lpstr>
      <vt:lpstr>Test Strategy Workshop Agenda</vt:lpstr>
      <vt:lpstr>Overall Test Strategy</vt:lpstr>
      <vt:lpstr>Overall Test Strategy</vt:lpstr>
      <vt:lpstr>Project Scope mapped to Testing Scope</vt:lpstr>
      <vt:lpstr>Project scope mapped to Testing scope</vt:lpstr>
      <vt:lpstr>Project scope mapped to Testing scope</vt:lpstr>
      <vt:lpstr>Test Plan</vt:lpstr>
      <vt:lpstr>High-level Test Plan</vt:lpstr>
      <vt:lpstr>Test Phases and Test Types</vt:lpstr>
      <vt:lpstr>Testing types and phases</vt:lpstr>
      <vt:lpstr>Test Definition &amp; Test Management considerations</vt:lpstr>
      <vt:lpstr>Test Definition &amp; Test Management considerations</vt:lpstr>
      <vt:lpstr>Unit Testing</vt:lpstr>
      <vt:lpstr>Unit Testing</vt:lpstr>
      <vt:lpstr>Functional/Process Testing</vt:lpstr>
      <vt:lpstr>Functional/Process Testing</vt:lpstr>
      <vt:lpstr>System Integration Testing</vt:lpstr>
      <vt:lpstr>System Integration Testing</vt:lpstr>
      <vt:lpstr>End-to-End Testing</vt:lpstr>
      <vt:lpstr>End-to-End Testing</vt:lpstr>
      <vt:lpstr>User Acceptance Testing</vt:lpstr>
      <vt:lpstr>User Acceptance Testing</vt:lpstr>
      <vt:lpstr>Regression Testing</vt:lpstr>
      <vt:lpstr>Regression Testing</vt:lpstr>
      <vt:lpstr>Non-Functional Testing - Performance</vt:lpstr>
      <vt:lpstr>Performance Testing</vt:lpstr>
      <vt:lpstr>Non-Functional Testing - Data</vt:lpstr>
      <vt:lpstr>Data Testing</vt:lpstr>
      <vt:lpstr>Non-Functional Testing - Security</vt:lpstr>
      <vt:lpstr>Security Testing</vt:lpstr>
      <vt:lpstr>Test Tooling</vt:lpstr>
      <vt:lpstr>Tooling – Dynamics 365 CE</vt:lpstr>
      <vt:lpstr>Tooling – Dynamics 365 F&amp;O</vt:lpstr>
      <vt:lpstr>Q&amp;A and Next Steps</vt:lpstr>
      <vt:lpstr>Q&amp;A</vt:lpstr>
      <vt:lpstr>Next Steps and Agreed Actions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Track for Microsoft Dynamics 365 for Customer Engagement</dc:title>
  <cp:revision>7</cp:revision>
  <dcterms:created xsi:type="dcterms:W3CDTF">2019-03-30T00:28:33Z</dcterms:created>
  <dcterms:modified xsi:type="dcterms:W3CDTF">2021-08-24T19:0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3B1A370DB454895F1017B66A82434</vt:lpwstr>
  </property>
  <property fmtid="{D5CDD505-2E9C-101B-9397-08002B2CF9AE}" pid="3" name="AuthorIds_UIVersion_512">
    <vt:lpwstr>68</vt:lpwstr>
  </property>
</Properties>
</file>